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665" r:id="rId2"/>
    <p:sldId id="4199" r:id="rId3"/>
    <p:sldId id="4200" r:id="rId4"/>
    <p:sldId id="1956" r:id="rId5"/>
    <p:sldId id="4201" r:id="rId6"/>
    <p:sldId id="1945" r:id="rId7"/>
    <p:sldId id="1937" r:id="rId8"/>
    <p:sldId id="1979" r:id="rId9"/>
    <p:sldId id="2024" r:id="rId10"/>
    <p:sldId id="2045" r:id="rId11"/>
    <p:sldId id="2016" r:id="rId12"/>
    <p:sldId id="1992" r:id="rId13"/>
    <p:sldId id="2042" r:id="rId14"/>
    <p:sldId id="1981" r:id="rId15"/>
    <p:sldId id="2033" r:id="rId16"/>
    <p:sldId id="792" r:id="rId17"/>
    <p:sldId id="790" r:id="rId18"/>
    <p:sldId id="1941" r:id="rId19"/>
    <p:sldId id="1949" r:id="rId20"/>
    <p:sldId id="1994" r:id="rId21"/>
    <p:sldId id="4203" r:id="rId22"/>
    <p:sldId id="1995" r:id="rId23"/>
    <p:sldId id="1987" r:id="rId24"/>
    <p:sldId id="2007" r:id="rId25"/>
    <p:sldId id="2039" r:id="rId26"/>
    <p:sldId id="2002" r:id="rId27"/>
    <p:sldId id="2037" r:id="rId28"/>
    <p:sldId id="4202" r:id="rId29"/>
    <p:sldId id="2021" r:id="rId30"/>
    <p:sldId id="1955" r:id="rId31"/>
    <p:sldId id="348" r:id="rId32"/>
    <p:sldId id="259" r:id="rId33"/>
    <p:sldId id="2040" r:id="rId34"/>
    <p:sldId id="2017" r:id="rId35"/>
    <p:sldId id="2044" r:id="rId36"/>
    <p:sldId id="2003" r:id="rId37"/>
    <p:sldId id="2004" r:id="rId38"/>
  </p:sldIdLst>
  <p:sldSz cx="9144000" cy="6858000" type="screen4x3"/>
  <p:notesSz cx="6877050" cy="9163050"/>
  <p:custDataLst>
    <p:tags r:id="rId4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0033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1611"/>
    <a:srgbClr val="EFFFD2"/>
    <a:srgbClr val="FF40FF"/>
    <a:srgbClr val="0432FF"/>
    <a:srgbClr val="FFFF99"/>
    <a:srgbClr val="FFFFCC"/>
    <a:srgbClr val="EFFFAE"/>
    <a:srgbClr val="FF0066"/>
    <a:srgbClr val="929000"/>
    <a:srgbClr val="EFFF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368"/>
    <p:restoredTop sz="96110"/>
  </p:normalViewPr>
  <p:slideViewPr>
    <p:cSldViewPr>
      <p:cViewPr varScale="1">
        <p:scale>
          <a:sx n="104" d="100"/>
          <a:sy n="104" d="100"/>
        </p:scale>
        <p:origin x="216" y="7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458"/>
    </p:cViewPr>
  </p:sorterViewPr>
  <p:notesViewPr>
    <p:cSldViewPr>
      <p:cViewPr varScale="1">
        <p:scale>
          <a:sx n="96" d="100"/>
          <a:sy n="96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EBEBBD9D-2B36-914F-A6CA-7434B00079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2236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9350" y="687388"/>
            <a:ext cx="4579938" cy="3435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7575" y="4352925"/>
            <a:ext cx="5041900" cy="412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118042F0-41D0-5340-90E3-DBE3BE5AF9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0495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632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6155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6136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0917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2922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C1F0C-CA5F-1C19-FD88-F7F66693F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33387A-C5AE-E472-B08D-12193A5399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BEFF6D-4EF4-4B43-AD06-50B8D3743C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02331-E232-F556-B167-E2A40C6793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360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4296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8710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8090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452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705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851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7564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5195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314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571d477ff1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571d477ff1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27332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0756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310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822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6275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896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321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9321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100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341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2192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971800"/>
            <a:ext cx="6400800" cy="2590800"/>
          </a:xfrm>
        </p:spPr>
        <p:txBody>
          <a:bodyPr/>
          <a:lstStyle>
            <a:lvl1pPr marL="0" indent="0" algn="ctr"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3/10/2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DAMSA-Ne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AF11F0-DDFA-B44C-AACA-04940859FE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3/10/2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DAMSA-Ne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60B4D4B-3DEF-AE4B-B9BB-BFC0E5F213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858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3/10/26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DAMSA-Ne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8378816-F0BE-954B-ACE6-3B377C21A1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14800" y="6248400"/>
            <a:ext cx="1752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2EBB36-8467-F3E5-61A0-5B37287997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8" name="Picture 7" descr="A logo with a light in the middle&#10;&#10;Description automatically generated">
            <a:extLst>
              <a:ext uri="{FF2B5EF4-FFF2-40B4-BE49-F238E27FC236}">
                <a16:creationId xmlns:a16="http://schemas.microsoft.com/office/drawing/2014/main" id="{3181E37B-712F-9477-A64B-2B7E897E2B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6200" y="-76200"/>
            <a:ext cx="1231564" cy="7609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75131F4-90C4-5D48-B2DB-E03FF3D7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 descr="A logo with a light in the middle&#10;&#10;Description automatically generated">
            <a:extLst>
              <a:ext uri="{FF2B5EF4-FFF2-40B4-BE49-F238E27FC236}">
                <a16:creationId xmlns:a16="http://schemas.microsoft.com/office/drawing/2014/main" id="{4417C1FB-4F39-ECC1-A552-C02C8A2E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6200" y="-76200"/>
            <a:ext cx="1231564" cy="7609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A61460-AA36-3C49-95BE-6F0467E25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A5275A8-1530-0B43-A316-1571205B76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7D2CB81-7E8A-B04F-9010-60F46C615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1A657A9-50BA-B84D-9310-D83DE6ADB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76511D7-2B68-8445-9211-98889C5084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0B7061A-6915-8C49-AE9B-EC670EFBB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BE3D05F-5C2B-D246-8FD7-D0DA3640F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EB49106-7695-8142-BA0B-D34BCB7E1A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857EA20-CDBF-BE47-A70A-8624E230D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12E7087-1461-D942-9383-44CA043B7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52904F9-125A-424B-9B22-BB376640B8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C93AB89-E7A8-B94C-9233-338253529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A9F1C98-038E-4F4B-A16E-1047000CD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3/10/2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DAMSA-Ne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F747FB-9F93-7A4A-823E-4285093B0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DEC4405-7F65-6844-4C6D-900BCF330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8495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5" imgW="7772400" imgH="10058400" progId="TCLayout.ActiveDocument.1">
                  <p:embed/>
                </p:oleObj>
              </mc:Choice>
              <mc:Fallback>
                <p:oleObj name="think-cell 슬라이드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accent2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0066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3300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CC00CC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401.09529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journals.aps.org/prd/pdf/10.1103/PhysRevD.107.L031901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arxiv.org/abs/2601.15255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504.02923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601.15255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g"/><Relationship Id="rId5" Type="http://schemas.openxmlformats.org/officeDocument/2006/relationships/hyperlink" Target="https://journals.aps.org/prl/abstract/10.1103/PhysRevLett.126.201801" TargetMode="Externa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>
            <a:extLst>
              <a:ext uri="{FF2B5EF4-FFF2-40B4-BE49-F238E27FC236}">
                <a16:creationId xmlns:a16="http://schemas.microsoft.com/office/drawing/2014/main" id="{0676FEF9-159B-B441-A6FF-3FA176EE1E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3591" y="381539"/>
            <a:ext cx="8874209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en-US" altLang="ko-KR" sz="5400" b="1" u="sng" dirty="0" err="1">
                <a:ea typeface="ＭＳ Ｐゴシック" pitchFamily="-84" charset="-128"/>
                <a:cs typeface="ＭＳ Ｐゴシック" pitchFamily="-84" charset="-128"/>
              </a:rPr>
              <a:t>DA</a:t>
            </a:r>
            <a:r>
              <a:rPr lang="en-US" altLang="ko-KR" sz="5400" b="1" dirty="0" err="1">
                <a:ea typeface="ＭＳ Ｐゴシック" pitchFamily="-84" charset="-128"/>
                <a:cs typeface="ＭＳ Ｐゴシック" pitchFamily="-84" charset="-128"/>
              </a:rPr>
              <a:t>rk</a:t>
            </a:r>
            <a:r>
              <a:rPr lang="en-US" altLang="ko-KR" sz="5400" b="1" dirty="0">
                <a:ea typeface="ＭＳ Ｐゴシック" pitchFamily="-84" charset="-128"/>
                <a:cs typeface="ＭＳ Ｐゴシック" pitchFamily="-84" charset="-128"/>
              </a:rPr>
              <a:t> </a:t>
            </a:r>
            <a:r>
              <a:rPr lang="en-US" altLang="ko-KR" sz="5400" b="1" u="sng" dirty="0">
                <a:ea typeface="ＭＳ Ｐゴシック" pitchFamily="-84" charset="-128"/>
                <a:cs typeface="ＭＳ Ｐゴシック" pitchFamily="-84" charset="-128"/>
              </a:rPr>
              <a:t>M</a:t>
            </a:r>
            <a:r>
              <a:rPr lang="en-US" altLang="ko-KR" sz="5400" b="1" dirty="0">
                <a:ea typeface="ＭＳ Ｐゴシック" pitchFamily="-84" charset="-128"/>
                <a:cs typeface="ＭＳ Ｐゴシック" pitchFamily="-84" charset="-128"/>
              </a:rPr>
              <a:t>essenger </a:t>
            </a:r>
            <a:r>
              <a:rPr lang="en-US" altLang="ko-KR" sz="5400" b="1" u="sng" dirty="0">
                <a:ea typeface="ＭＳ Ｐゴシック" pitchFamily="-84" charset="-128"/>
                <a:cs typeface="ＭＳ Ｐゴシック" pitchFamily="-84" charset="-128"/>
              </a:rPr>
              <a:t>S</a:t>
            </a:r>
            <a:r>
              <a:rPr lang="en-US" altLang="ko-KR" sz="5400" b="1" dirty="0">
                <a:ea typeface="ＭＳ Ｐゴシック" pitchFamily="-84" charset="-128"/>
                <a:cs typeface="ＭＳ Ｐゴシック" pitchFamily="-84" charset="-128"/>
              </a:rPr>
              <a:t>earches at an </a:t>
            </a:r>
            <a:r>
              <a:rPr lang="en-US" altLang="ko-KR" sz="5400" b="1" u="sng" dirty="0">
                <a:ea typeface="ＭＳ Ｐゴシック" pitchFamily="-84" charset="-128"/>
                <a:cs typeface="ＭＳ Ｐゴシック" pitchFamily="-84" charset="-128"/>
              </a:rPr>
              <a:t>A</a:t>
            </a:r>
            <a:r>
              <a:rPr lang="en-US" altLang="ko-KR" sz="5400" b="1" dirty="0">
                <a:ea typeface="ＭＳ Ｐゴシック" pitchFamily="-84" charset="-128"/>
                <a:cs typeface="ＭＳ Ｐゴシック" pitchFamily="-84" charset="-128"/>
              </a:rPr>
              <a:t>ccelerator, the DAMSA –Net</a:t>
            </a: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F15213D7-2B32-48DC-03C2-2E7D0EDFE6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400" y="4138100"/>
            <a:ext cx="67818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b="1" dirty="0" err="1">
                <a:solidFill>
                  <a:srgbClr val="FF40FF"/>
                </a:solidFill>
                <a:latin typeface="Monotype Corsiva" pitchFamily="-84" charset="0"/>
              </a:rPr>
              <a:t>Jaehoon</a:t>
            </a:r>
            <a:r>
              <a:rPr lang="en-US" sz="3200" b="1" dirty="0">
                <a:solidFill>
                  <a:srgbClr val="FF40FF"/>
                </a:solidFill>
                <a:latin typeface="Monotype Corsiva" pitchFamily="-84" charset="0"/>
              </a:rPr>
              <a:t> Yu</a:t>
            </a:r>
          </a:p>
          <a:p>
            <a:pPr algn="ctr"/>
            <a:r>
              <a:rPr lang="en-US" sz="3200" b="1" dirty="0">
                <a:solidFill>
                  <a:srgbClr val="FF40FF"/>
                </a:solidFill>
                <a:latin typeface="Monotype Corsiva" pitchFamily="-84" charset="0"/>
              </a:rPr>
              <a:t>University of Texas, Arlington</a:t>
            </a:r>
          </a:p>
        </p:txBody>
      </p:sp>
      <p:pic>
        <p:nvPicPr>
          <p:cNvPr id="7" name="Picture 6" descr="A logo with a light in the middle&#10;&#10;Description automatically generated">
            <a:extLst>
              <a:ext uri="{FF2B5EF4-FFF2-40B4-BE49-F238E27FC236}">
                <a16:creationId xmlns:a16="http://schemas.microsoft.com/office/drawing/2014/main" id="{CD1CC5F5-195F-7401-601B-9CA2E9659A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6200" y="1079"/>
            <a:ext cx="1231564" cy="760921"/>
          </a:xfrm>
          <a:prstGeom prst="rect">
            <a:avLst/>
          </a:prstGeom>
        </p:spPr>
      </p:pic>
      <p:sp>
        <p:nvSpPr>
          <p:cNvPr id="3" name="Text Box 4">
            <a:extLst>
              <a:ext uri="{FF2B5EF4-FFF2-40B4-BE49-F238E27FC236}">
                <a16:creationId xmlns:a16="http://schemas.microsoft.com/office/drawing/2014/main" id="{6C6977D7-907E-4129-A5A6-B917AE1CEF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82006" y="2235784"/>
            <a:ext cx="352853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b="1" dirty="0">
                <a:solidFill>
                  <a:schemeClr val="accent2"/>
                </a:solidFill>
                <a:latin typeface="Monotype Corsiva" pitchFamily="-84" charset="0"/>
              </a:rPr>
              <a:t>FPD Seminar </a:t>
            </a:r>
          </a:p>
          <a:p>
            <a:pPr algn="ctr"/>
            <a:r>
              <a:rPr lang="en-US" sz="3600" b="1" dirty="0">
                <a:solidFill>
                  <a:schemeClr val="accent2"/>
                </a:solidFill>
                <a:latin typeface="Monotype Corsiva" pitchFamily="-84" charset="0"/>
              </a:rPr>
              <a:t>March 10, 2026</a:t>
            </a:r>
          </a:p>
          <a:p>
            <a:pPr algn="ctr"/>
            <a:r>
              <a:rPr lang="en-US" sz="3600" b="1" dirty="0">
                <a:solidFill>
                  <a:schemeClr val="accent2"/>
                </a:solidFill>
                <a:latin typeface="Monotype Corsiva" pitchFamily="-84" charset="0"/>
              </a:rPr>
              <a:t>SLAC National Lab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465DE97-F1F5-974B-B9FC-C7A68CC6D4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495" y="1310593"/>
            <a:ext cx="7772400" cy="48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072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5644"/>
            <a:ext cx="8305800" cy="609600"/>
          </a:xfrm>
        </p:spPr>
        <p:txBody>
          <a:bodyPr/>
          <a:lstStyle/>
          <a:p>
            <a:pPr lvl="0" latinLnBrk="1"/>
            <a:r>
              <a:rPr lang="en-US" b="1" dirty="0"/>
              <a:t>More Realistic DAMSA &amp; the ceiling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2" y="568190"/>
            <a:ext cx="8991598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The question: Can we access the targeted parameter space with a dramatically smaller scale experiment (</a:t>
            </a:r>
            <a:r>
              <a:rPr lang="en-US" sz="2800" dirty="0">
                <a:hlinkClick r:id="rId3"/>
              </a:rPr>
              <a:t>2401.09529</a:t>
            </a:r>
            <a:r>
              <a:rPr lang="en-US" sz="2800" dirty="0"/>
              <a:t>)?</a:t>
            </a:r>
          </a:p>
          <a:p>
            <a:pPr marL="457200" lvl="1" indent="0">
              <a:lnSpc>
                <a:spcPct val="90000"/>
              </a:lnSpc>
              <a:buNone/>
            </a:pPr>
            <a:r>
              <a:rPr lang="en-US" sz="2400" dirty="0"/>
              <a:t>0.   Concept Study: </a:t>
            </a:r>
            <a:r>
              <a:rPr lang="en-US" sz="2400" dirty="0" err="1"/>
              <a:t>L</a:t>
            </a:r>
            <a:r>
              <a:rPr lang="en-US" sz="2400" baseline="-25000" dirty="0" err="1"/>
              <a:t>dump</a:t>
            </a:r>
            <a:r>
              <a:rPr lang="en-US" sz="2400" dirty="0"/>
              <a:t>=1m, </a:t>
            </a:r>
            <a:r>
              <a:rPr lang="en-US" sz="2400" dirty="0" err="1"/>
              <a:t>D</a:t>
            </a:r>
            <a:r>
              <a:rPr lang="en-US" sz="2400" baseline="-25000" dirty="0" err="1"/>
              <a:t>vac</a:t>
            </a:r>
            <a:r>
              <a:rPr lang="en-US" sz="2400" dirty="0"/>
              <a:t>=10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0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1yr</a:t>
            </a:r>
          </a:p>
          <a:p>
            <a:pPr marL="914400" lvl="1" indent="-457200">
              <a:lnSpc>
                <a:spcPct val="90000"/>
              </a:lnSpc>
              <a:buAutoNum type="arabicPeriod"/>
            </a:pPr>
            <a:r>
              <a:rPr lang="en-US" sz="2400" dirty="0"/>
              <a:t>Smaller scale: </a:t>
            </a:r>
            <a:r>
              <a:rPr lang="en-US" sz="2400" dirty="0" err="1"/>
              <a:t>L</a:t>
            </a:r>
            <a:r>
              <a:rPr lang="en-US" sz="2400" baseline="-25000" dirty="0" err="1"/>
              <a:t>dump</a:t>
            </a:r>
            <a:r>
              <a:rPr lang="en-US" sz="2400" dirty="0"/>
              <a:t>=1m, </a:t>
            </a:r>
            <a:r>
              <a:rPr lang="en-US" sz="2400" dirty="0" err="1"/>
              <a:t>D</a:t>
            </a:r>
            <a:r>
              <a:rPr lang="en-US" sz="2400" baseline="-25000" dirty="0" err="1"/>
              <a:t>vac</a:t>
            </a:r>
            <a:r>
              <a:rPr lang="en-US" sz="2400" dirty="0"/>
              <a:t>=1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0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3mo </a:t>
            </a:r>
          </a:p>
          <a:p>
            <a:pPr marL="914400" lvl="1" indent="-457200">
              <a:lnSpc>
                <a:spcPct val="90000"/>
              </a:lnSpc>
              <a:buAutoNum type="arabicPeriod"/>
            </a:pPr>
            <a:r>
              <a:rPr lang="en-US" sz="2400" dirty="0"/>
              <a:t>Reduce the detector radius to 0.1m from 1.1m, same depth (10</a:t>
            </a:r>
            <a:r>
              <a:rPr lang="en-US" sz="2400" baseline="30000" dirty="0"/>
              <a:t>-2</a:t>
            </a:r>
            <a:r>
              <a:rPr lang="en-US" sz="2400" dirty="0"/>
              <a:t>)</a:t>
            </a:r>
          </a:p>
          <a:p>
            <a:pPr marL="914400" lvl="1" indent="-457200">
              <a:lnSpc>
                <a:spcPct val="90000"/>
              </a:lnSpc>
              <a:buAutoNum type="arabicPeriod"/>
            </a:pPr>
            <a:r>
              <a:rPr lang="en-US" sz="2400" dirty="0"/>
              <a:t>Reduce the vacuum chamber radius and length to 0.1m from 1m (10</a:t>
            </a:r>
            <a:r>
              <a:rPr lang="en-US" sz="2400" baseline="30000" dirty="0"/>
              <a:t>-3</a:t>
            </a:r>
            <a:r>
              <a:rPr lang="en-US" sz="2400" dirty="0"/>
              <a:t>)</a:t>
            </a:r>
          </a:p>
          <a:p>
            <a:pPr marL="914400" lvl="1" indent="-457200">
              <a:lnSpc>
                <a:spcPct val="90000"/>
              </a:lnSpc>
              <a:buAutoNum type="arabicPeriod"/>
            </a:pPr>
            <a:r>
              <a:rPr lang="en-US" sz="2400" dirty="0"/>
              <a:t>Reduce the W dump length to 0.5m (case 1) &amp; 0.25m (case 2)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D4D17E-E873-D04D-91CA-32CC20801577}"/>
              </a:ext>
            </a:extLst>
          </p:cNvPr>
          <p:cNvGrpSpPr/>
          <p:nvPr/>
        </p:nvGrpSpPr>
        <p:grpSpPr>
          <a:xfrm>
            <a:off x="852474" y="3124200"/>
            <a:ext cx="7224726" cy="3382201"/>
            <a:chOff x="383852" y="2021013"/>
            <a:chExt cx="8561329" cy="4342418"/>
          </a:xfrm>
        </p:grpSpPr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9DA62673-4527-5440-AB46-D121FD21670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352138" y="2608973"/>
              <a:ext cx="3726283" cy="3333043"/>
            </a:xfrm>
            <a:prstGeom prst="can">
              <a:avLst>
                <a:gd name="adj" fmla="val 14528"/>
              </a:avLst>
            </a:prstGeom>
            <a:solidFill>
              <a:srgbClr val="729FCF">
                <a:alpha val="50000"/>
              </a:srgbClr>
            </a:solidFill>
            <a:ln w="9525" cap="flat">
              <a:solidFill>
                <a:srgbClr val="3465A4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Line 3">
              <a:extLst>
                <a:ext uri="{FF2B5EF4-FFF2-40B4-BE49-F238E27FC236}">
                  <a16:creationId xmlns:a16="http://schemas.microsoft.com/office/drawing/2014/main" id="{93FE25D9-CC9D-5E42-A11E-781771D7E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852" y="4151131"/>
              <a:ext cx="976357" cy="1769"/>
            </a:xfrm>
            <a:prstGeom prst="line">
              <a:avLst/>
            </a:prstGeom>
            <a:noFill/>
            <a:ln w="76200" cap="flat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AutoShape 5">
              <a:extLst>
                <a:ext uri="{FF2B5EF4-FFF2-40B4-BE49-F238E27FC236}">
                  <a16:creationId xmlns:a16="http://schemas.microsoft.com/office/drawing/2014/main" id="{FB258829-7F09-5241-8FEB-872F4433C4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522259" y="3580597"/>
              <a:ext cx="995605" cy="1168239"/>
            </a:xfrm>
            <a:prstGeom prst="can">
              <a:avLst>
                <a:gd name="adj" fmla="val 10819"/>
              </a:avLst>
            </a:prstGeom>
            <a:solidFill>
              <a:srgbClr val="E8F2A1">
                <a:alpha val="50000"/>
              </a:srgbClr>
            </a:solidFill>
            <a:ln w="9525" cap="flat">
              <a:solidFill>
                <a:srgbClr val="AFD095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Line 6">
              <a:extLst>
                <a:ext uri="{FF2B5EF4-FFF2-40B4-BE49-F238E27FC236}">
                  <a16:creationId xmlns:a16="http://schemas.microsoft.com/office/drawing/2014/main" id="{ED775245-F1E9-2848-95B8-EB62247851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2291" y="2021013"/>
              <a:ext cx="6681999" cy="2131886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B2E75E35-96A8-F84C-A7AC-1DB7EA45C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0" y="4151131"/>
              <a:ext cx="6643308" cy="221230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AutoShape 8">
              <a:extLst>
                <a:ext uri="{FF2B5EF4-FFF2-40B4-BE49-F238E27FC236}">
                  <a16:creationId xmlns:a16="http://schemas.microsoft.com/office/drawing/2014/main" id="{49844D8E-88CF-0C4D-82A0-0B3133F09B0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808952" y="3311160"/>
              <a:ext cx="965993" cy="1736725"/>
            </a:xfrm>
            <a:prstGeom prst="can">
              <a:avLst>
                <a:gd name="adj" fmla="val 27343"/>
              </a:avLst>
            </a:prstGeom>
            <a:solidFill>
              <a:srgbClr val="FFD7D7">
                <a:alpha val="50000"/>
              </a:srgbClr>
            </a:solidFill>
            <a:ln w="9525" cap="flat">
              <a:solidFill>
                <a:srgbClr val="FF0000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ine 9">
              <a:extLst>
                <a:ext uri="{FF2B5EF4-FFF2-40B4-BE49-F238E27FC236}">
                  <a16:creationId xmlns:a16="http://schemas.microsoft.com/office/drawing/2014/main" id="{433117ED-9728-5442-8153-342CDC86E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1" y="4171223"/>
              <a:ext cx="6952890" cy="9071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 Box 10">
              <a:extLst>
                <a:ext uri="{FF2B5EF4-FFF2-40B4-BE49-F238E27FC236}">
                  <a16:creationId xmlns:a16="http://schemas.microsoft.com/office/drawing/2014/main" id="{037BFEDC-FA0E-064B-A1AE-9957A4E16E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121" y="3684185"/>
              <a:ext cx="976357" cy="276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Proton</a:t>
              </a:r>
            </a:p>
          </p:txBody>
        </p:sp>
      </p:grpSp>
      <p:sp>
        <p:nvSpPr>
          <p:cNvPr id="30" name="Text Box 10">
            <a:extLst>
              <a:ext uri="{FF2B5EF4-FFF2-40B4-BE49-F238E27FC236}">
                <a16:creationId xmlns:a16="http://schemas.microsoft.com/office/drawing/2014/main" id="{5F0EA1BA-876E-3641-90F5-C50B8A7EDAE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218999" y="4276402"/>
            <a:ext cx="1235706" cy="879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W Dump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5/0.25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5m</a:t>
            </a:r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BCA31066-6F21-CE4D-86AD-427E80F85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6087" y="4405647"/>
            <a:ext cx="416913" cy="54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Vacuu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1m, 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 </a:t>
            </a:r>
          </a:p>
        </p:txBody>
      </p:sp>
      <p:sp>
        <p:nvSpPr>
          <p:cNvPr id="32" name="Text Box 10">
            <a:extLst>
              <a:ext uri="{FF2B5EF4-FFF2-40B4-BE49-F238E27FC236}">
                <a16:creationId xmlns:a16="http://schemas.microsoft.com/office/drawing/2014/main" id="{A2E1888D-B7CA-DC4A-A690-E592FE363B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1447" y="4464761"/>
            <a:ext cx="904730" cy="528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Detector</a:t>
            </a:r>
          </a:p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</a:t>
            </a:r>
            <a:endParaRPr lang="en-US" altLang="en-US" sz="1800" b="1" dirty="0">
              <a:solidFill>
                <a:srgbClr val="00B050"/>
              </a:solidFill>
              <a:highlight>
                <a:srgbClr val="FF40FF"/>
              </a:highlight>
              <a:latin typeface="+mn-lt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FBE824-E9B4-9D83-7CCB-125281659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CF6023F-9D75-AC0D-7E6D-76563F30A1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8591" y="-1"/>
            <a:ext cx="4590809" cy="68525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E3D053B-1260-B92E-3291-C60377436D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5399" y="0"/>
            <a:ext cx="6553202" cy="6858000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975667-A95B-44BD-539E-49AF4BA8D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BCC092-1983-4A5F-0690-6EB04023E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802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4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15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15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300"/>
                            </p:stCondLst>
                            <p:childTnLst>
                              <p:par>
                                <p:cTn id="4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9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0" grpId="0"/>
      <p:bldP spid="31" grpId="0"/>
      <p:bldP spid="3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Impact of Exp. Param. to the Ceiling</a:t>
            </a:r>
          </a:p>
        </p:txBody>
      </p:sp>
      <p:pic>
        <p:nvPicPr>
          <p:cNvPr id="7" name="Picture 6" descr="A diagram of a beam-dump&#10;&#10;Description automatically generated">
            <a:extLst>
              <a:ext uri="{FF2B5EF4-FFF2-40B4-BE49-F238E27FC236}">
                <a16:creationId xmlns:a16="http://schemas.microsoft.com/office/drawing/2014/main" id="{1F45BE32-C9BA-0AE8-DE62-72CA9D974D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76182"/>
            <a:ext cx="9124122" cy="570081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876F11F-D4E6-7079-1445-6EF255A2342C}"/>
              </a:ext>
            </a:extLst>
          </p:cNvPr>
          <p:cNvSpPr txBox="1"/>
          <p:nvPr/>
        </p:nvSpPr>
        <p:spPr>
          <a:xfrm>
            <a:off x="1524000" y="3164926"/>
            <a:ext cx="335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  <a:latin typeface="+mj-lt"/>
              </a:rPr>
              <a:t>For the given baseline, access to the ceiling affected little by the detector dimension or the stat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939829-9000-B59D-D0E0-1F957CD57F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22863-E53D-8AD8-3FC0-3C3F25561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421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85725" y="166688"/>
            <a:ext cx="8915400" cy="533400"/>
          </a:xfrm>
        </p:spPr>
        <p:txBody>
          <a:bodyPr/>
          <a:lstStyle/>
          <a:p>
            <a:pPr lvl="0" latinLnBrk="1"/>
            <a:r>
              <a:rPr lang="en-US" sz="4800" b="1" dirty="0"/>
              <a:t>DAMSA Pathfinder Strategy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300" y="838200"/>
            <a:ext cx="8953500" cy="5181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Given the confidence of Little DAMSA sensitivity, DAMSA can be a very small detector </a:t>
            </a:r>
            <a:r>
              <a:rPr lang="en-US" sz="2800" dirty="0">
                <a:sym typeface="Wingdings" pitchFamily="2" charset="2"/>
              </a:rPr>
              <a:t> </a:t>
            </a:r>
            <a:r>
              <a:rPr lang="en-US" sz="2800" b="1" dirty="0">
                <a:solidFill>
                  <a:srgbClr val="FF0000"/>
                </a:solidFill>
                <a:sym typeface="Wingdings" pitchFamily="2" charset="2"/>
              </a:rPr>
              <a:t>DAMSA becomes more REAL!!</a:t>
            </a:r>
            <a:endParaRPr lang="en-US" sz="2800" dirty="0"/>
          </a:p>
          <a:p>
            <a:pPr>
              <a:lnSpc>
                <a:spcPct val="90000"/>
              </a:lnSpc>
            </a:pPr>
            <a:r>
              <a:rPr lang="en-US" sz="2800" dirty="0"/>
              <a:t>Primary goals are to demonstrate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Physics case feasibility </a:t>
            </a:r>
            <a:r>
              <a:rPr lang="en-US" sz="2400" dirty="0">
                <a:sym typeface="Wingdings" pitchFamily="2" charset="2"/>
              </a:rPr>
              <a:t> can we access the target parameter space?</a:t>
            </a:r>
            <a:endParaRPr lang="en-US" sz="2400" dirty="0"/>
          </a:p>
          <a:p>
            <a:pPr lvl="1">
              <a:lnSpc>
                <a:spcPct val="90000"/>
              </a:lnSpc>
            </a:pPr>
            <a:r>
              <a:rPr lang="en-US" sz="2400" dirty="0"/>
              <a:t>Background validation and handling </a:t>
            </a:r>
            <a:r>
              <a:rPr lang="en-US" sz="2400" dirty="0">
                <a:sym typeface="Wingdings" pitchFamily="2" charset="2"/>
              </a:rPr>
              <a:t> did we make a mistake?</a:t>
            </a:r>
            <a:endParaRPr lang="en-US" sz="2400" dirty="0"/>
          </a:p>
          <a:p>
            <a:pPr lvl="1">
              <a:lnSpc>
                <a:spcPct val="90000"/>
              </a:lnSpc>
            </a:pPr>
            <a:r>
              <a:rPr lang="en-US" sz="2400" dirty="0"/>
              <a:t>Physics before other p-beam dump facility (e.g. BDF@CERN) is ready</a:t>
            </a:r>
          </a:p>
          <a:p>
            <a:pPr lvl="2">
              <a:lnSpc>
                <a:spcPct val="90000"/>
              </a:lnSpc>
            </a:pPr>
            <a:r>
              <a:rPr lang="en-US" sz="2000" dirty="0"/>
              <a:t>Produce physics, as the collaboration builds up the experiment and seek funds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Strategy for the pathfinder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Find a pathway to focus on physics case feasibility test</a:t>
            </a:r>
          </a:p>
          <a:p>
            <a:pPr lvl="2">
              <a:lnSpc>
                <a:spcPct val="90000"/>
              </a:lnSpc>
            </a:pPr>
            <a:r>
              <a:rPr lang="en-US" sz="2000" dirty="0"/>
              <a:t>Need a facility that has as little neutron background from the dump as possible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Electron beams will do better job than hadron beam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Produce physics every phas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BA8892-81CC-5A15-474A-9A715AEE0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72D379-E263-098A-B1ED-E2937528C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AB8E5-FBE8-8705-CA8E-2EEE8929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267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3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76200"/>
            <a:ext cx="8991601" cy="609600"/>
          </a:xfrm>
        </p:spPr>
        <p:txBody>
          <a:bodyPr>
            <a:normAutofit fontScale="90000"/>
          </a:bodyPr>
          <a:lstStyle/>
          <a:p>
            <a:pPr lvl="0" latinLnBrk="1"/>
            <a:r>
              <a:rPr lang="en-US" altLang="ko-KR" b="1" dirty="0"/>
              <a:t>Beam Related Background Mitigation</a:t>
            </a:r>
            <a:endParaRPr lang="en-US" b="1" dirty="0"/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199" y="685800"/>
            <a:ext cx="8991601" cy="55626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Two beam related background component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Fast component : Particles exiting from the target/dump, immediately enter the experiment together with the signal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Slow component : Particles (primarily neutrons) lingering around after a beam interaction, entering the experiment at random times and affecting the subsequent beam interactions 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87C9FB-226F-2B2A-7C51-1D070C8BF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02B435-A17E-D419-AF7E-532507725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92A81-2C7D-35DA-765C-F1516A02D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315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2419421B-DEBD-9E6F-FAB6-ED8D5E0067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62694"/>
            <a:ext cx="8991600" cy="2667000"/>
          </a:xfrm>
          <a:prstGeom prst="rect">
            <a:avLst/>
          </a:prstGeom>
        </p:spPr>
      </p:pic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66700" y="0"/>
            <a:ext cx="86106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Critical Info on Little DAMSA –n </a:t>
            </a:r>
            <a:r>
              <a:rPr lang="en-US" sz="4000" b="1" dirty="0" err="1"/>
              <a:t>bck</a:t>
            </a:r>
            <a:endParaRPr lang="en-US" sz="4000" b="1" dirty="0"/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33400"/>
            <a:ext cx="8763001" cy="54864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>
                <a:sym typeface="Wingdings" pitchFamily="2" charset="2"/>
              </a:rPr>
              <a:t>From detailed GEANT simulation study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72"/>
              </a:spcBef>
            </a:pP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72"/>
              </a:spcBef>
            </a:pP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72"/>
              </a:spcBef>
            </a:pP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72"/>
              </a:spcBef>
            </a:pP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72"/>
              </a:spcBef>
            </a:pP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72"/>
              </a:spcBef>
            </a:pP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72"/>
              </a:spcBef>
            </a:pP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>
                <a:sym typeface="Wingdings" pitchFamily="2" charset="2"/>
              </a:rPr>
              <a:t>The lingering neutron background impacts can be virtually eliminated by separating the beam more than 1</a:t>
            </a:r>
            <a:r>
              <a:rPr lang="en-US" sz="2400" dirty="0">
                <a:latin typeface="Symbol" pitchFamily="2" charset="2"/>
                <a:sym typeface="Wingdings" pitchFamily="2" charset="2"/>
              </a:rPr>
              <a:t>m</a:t>
            </a:r>
            <a:r>
              <a:rPr lang="en-US" sz="2400" dirty="0">
                <a:sym typeface="Wingdings" pitchFamily="2" charset="2"/>
              </a:rPr>
              <a:t>s, even with a hall of R=3m  The low E EM particles can be captured by implementing a thin pre-shower layer with some absorber (what is the optimal X</a:t>
            </a:r>
            <a:r>
              <a:rPr lang="en-US" sz="2400" baseline="-25000" dirty="0">
                <a:sym typeface="Wingdings" pitchFamily="2" charset="2"/>
              </a:rPr>
              <a:t>0</a:t>
            </a:r>
            <a:r>
              <a:rPr lang="en-US" sz="2400" dirty="0">
                <a:sym typeface="Wingdings" pitchFamily="2" charset="2"/>
              </a:rPr>
              <a:t>?)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>
                <a:sym typeface="Wingdings" pitchFamily="2" charset="2"/>
              </a:rPr>
              <a:t>Neutron flux from the given pulse and the pile up effect can be minimized by optimizing the pulse intensity and the separation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>
                <a:sym typeface="Wingdings" pitchFamily="2" charset="2"/>
              </a:rPr>
              <a:t>GEANT study shows: up to ~10</a:t>
            </a:r>
            <a:r>
              <a:rPr lang="en-US" sz="2400" baseline="30000" dirty="0">
                <a:sym typeface="Wingdings" pitchFamily="2" charset="2"/>
              </a:rPr>
              <a:t>7</a:t>
            </a:r>
            <a:r>
              <a:rPr lang="en-US" sz="2400" dirty="0">
                <a:sym typeface="Wingdings" pitchFamily="2" charset="2"/>
              </a:rPr>
              <a:t> e/pulse + &gt;1</a:t>
            </a:r>
            <a:r>
              <a:rPr lang="en-US" sz="2400" dirty="0">
                <a:latin typeface="Symbol" pitchFamily="2" charset="2"/>
                <a:sym typeface="Wingdings" pitchFamily="2" charset="2"/>
              </a:rPr>
              <a:t>m</a:t>
            </a:r>
            <a:r>
              <a:rPr lang="en-US" sz="2400" dirty="0">
                <a:sym typeface="Wingdings" pitchFamily="2" charset="2"/>
              </a:rPr>
              <a:t>s separation good start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182755"/>
            <a:ext cx="1905000" cy="457200"/>
          </a:xfrm>
        </p:spPr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0CA5BC-46CA-73DE-2A16-0E3F0CC0BA7F}"/>
              </a:ext>
            </a:extLst>
          </p:cNvPr>
          <p:cNvSpPr txBox="1"/>
          <p:nvPr/>
        </p:nvSpPr>
        <p:spPr>
          <a:xfrm rot="16200000">
            <a:off x="-228035" y="1334663"/>
            <a:ext cx="913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FF0000"/>
                </a:solidFill>
              </a:rPr>
              <a:t>(t=1</a:t>
            </a:r>
            <a:r>
              <a:rPr lang="en-US" sz="1800" dirty="0">
                <a:solidFill>
                  <a:srgbClr val="FF0000"/>
                </a:solidFill>
                <a:latin typeface="Symbol" pitchFamily="2" charset="2"/>
              </a:rPr>
              <a:t>m</a:t>
            </a:r>
            <a:r>
              <a:rPr lang="en-US" sz="1800" dirty="0">
                <a:solidFill>
                  <a:srgbClr val="FF0000"/>
                </a:solidFill>
              </a:rPr>
              <a:t>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0F74C0-1949-5C24-6CFB-8E5532BDDC64}"/>
              </a:ext>
            </a:extLst>
          </p:cNvPr>
          <p:cNvSpPr txBox="1"/>
          <p:nvPr/>
        </p:nvSpPr>
        <p:spPr>
          <a:xfrm>
            <a:off x="4084458" y="926068"/>
            <a:ext cx="9750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FF0000"/>
                </a:solidFill>
              </a:rPr>
              <a:t>(R=1m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37A490-05E2-B814-585A-C45A7F18CA81}"/>
              </a:ext>
            </a:extLst>
          </p:cNvPr>
          <p:cNvSpPr txBox="1"/>
          <p:nvPr/>
        </p:nvSpPr>
        <p:spPr>
          <a:xfrm>
            <a:off x="7162800" y="914400"/>
            <a:ext cx="9750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FF0000"/>
                </a:solidFill>
              </a:rPr>
              <a:t>(R=3m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C3F2B50-25F0-0802-30B8-4CB7A48B36E4}"/>
              </a:ext>
            </a:extLst>
          </p:cNvPr>
          <p:cNvSpPr txBox="1"/>
          <p:nvPr/>
        </p:nvSpPr>
        <p:spPr>
          <a:xfrm>
            <a:off x="838200" y="914400"/>
            <a:ext cx="1216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FF0000"/>
                </a:solidFill>
              </a:rPr>
              <a:t>(No wall)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E0EDCDD-6994-6A71-0932-948D34534197}"/>
              </a:ext>
            </a:extLst>
          </p:cNvPr>
          <p:cNvCxnSpPr/>
          <p:nvPr/>
        </p:nvCxnSpPr>
        <p:spPr bwMode="auto">
          <a:xfrm>
            <a:off x="457200" y="3005795"/>
            <a:ext cx="81534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2D62F13E-0C0A-F5B4-8AF2-A4601D874C09}"/>
              </a:ext>
            </a:extLst>
          </p:cNvPr>
          <p:cNvSpPr txBox="1"/>
          <p:nvPr/>
        </p:nvSpPr>
        <p:spPr>
          <a:xfrm rot="16200000">
            <a:off x="-246568" y="2945262"/>
            <a:ext cx="913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FF0000"/>
                </a:solidFill>
              </a:rPr>
              <a:t>(t=5ns)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023DAD-9CCC-B028-DECF-08551FF779B2}"/>
              </a:ext>
            </a:extLst>
          </p:cNvPr>
          <p:cNvCxnSpPr/>
          <p:nvPr/>
        </p:nvCxnSpPr>
        <p:spPr bwMode="auto">
          <a:xfrm>
            <a:off x="457200" y="1481795"/>
            <a:ext cx="81534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1E2A2A-1896-47CF-B35E-88F934716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C6EE03-92AF-0286-206D-79122206F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352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55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14" grpId="0"/>
      <p:bldP spid="10" grpId="0"/>
      <p:bldP spid="15" grpId="0"/>
      <p:bldP spid="16" grpId="0"/>
      <p:bldP spid="1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76200"/>
            <a:ext cx="8991601" cy="609600"/>
          </a:xfrm>
        </p:spPr>
        <p:txBody>
          <a:bodyPr>
            <a:normAutofit fontScale="90000"/>
          </a:bodyPr>
          <a:lstStyle/>
          <a:p>
            <a:pPr lvl="0" latinLnBrk="1"/>
            <a:r>
              <a:rPr lang="en-US" altLang="ko-KR" b="1" dirty="0"/>
              <a:t>Beam Related Background Mitigation</a:t>
            </a:r>
            <a:endParaRPr lang="en-US" b="1" dirty="0"/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199" y="685800"/>
            <a:ext cx="8991601" cy="55626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Two beam related background component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Fast component : Particles exiting from the target/dump, immediately enter the experiment together with the signal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Slow component : Particles (primarily neutrons) lingering around after a beam interaction, entering the experiment at random times and affecting the subsequent beam interactions  </a:t>
            </a:r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Beam configurations could help mitigating and minimizing both the component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Adjusting the number of particles in each beam pulse for fast component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Adjusting the beam pulse separation (or the repetition rate) for slow components, allowing slow neutrons to be absorbed by the water in atmosphere before the next pulse</a:t>
            </a:r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Beat the remaining background using detector capabilit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87C9FB-226F-2B2A-7C51-1D070C8BF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7A8E02-664C-F279-DF55-588E716A4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ED3418-591B-F3BC-7057-536726D33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578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3/10/26</a:t>
            </a:r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0" y="5644"/>
            <a:ext cx="8839200" cy="609600"/>
          </a:xfrm>
        </p:spPr>
        <p:txBody>
          <a:bodyPr/>
          <a:lstStyle/>
          <a:p>
            <a:pPr lvl="0" latinLnBrk="1"/>
            <a:r>
              <a:rPr lang="en-US" b="1" dirty="0"/>
              <a:t>DAMSA Detector – The </a:t>
            </a:r>
            <a:r>
              <a:rPr lang="en-US" b="1" dirty="0">
                <a:latin typeface="Symbol" pitchFamily="2" charset="2"/>
              </a:rPr>
              <a:t>g</a:t>
            </a:r>
            <a:r>
              <a:rPr lang="en-US" b="1" dirty="0"/>
              <a:t> pair traceback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7647" y="676603"/>
            <a:ext cx="3987944" cy="17381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Require two photon track trace back position be inside the dump perimeter</a:t>
            </a:r>
            <a:endParaRPr lang="en-US" sz="2400" dirty="0"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2x10</a:t>
            </a:r>
            <a:r>
              <a:rPr lang="en-US" sz="2800" baseline="30000" dirty="0">
                <a:sym typeface="Wingdings" pitchFamily="2" charset="2"/>
              </a:rPr>
              <a:t>-2</a:t>
            </a:r>
            <a:r>
              <a:rPr lang="en-US" sz="2800" dirty="0">
                <a:sym typeface="Wingdings" pitchFamily="2" charset="2"/>
              </a:rPr>
              <a:t> of </a:t>
            </a:r>
            <a:r>
              <a:rPr lang="en-US" sz="2800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sz="2800" dirty="0">
                <a:sym typeface="Wingdings" pitchFamily="2" charset="2"/>
              </a:rPr>
              <a:t> pairs remain</a:t>
            </a:r>
          </a:p>
          <a:p>
            <a:pPr marL="0" indent="0">
              <a:lnSpc>
                <a:spcPct val="90000"/>
              </a:lnSpc>
              <a:buNone/>
            </a:pPr>
            <a:endParaRPr lang="en-US" sz="2800" dirty="0">
              <a:sym typeface="Wingdings" pitchFamily="2" charset="2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6D8C82-8CF2-3A4E-B3B9-94A1C5F8C60F}"/>
              </a:ext>
            </a:extLst>
          </p:cNvPr>
          <p:cNvSpPr/>
          <p:nvPr/>
        </p:nvSpPr>
        <p:spPr bwMode="auto">
          <a:xfrm>
            <a:off x="2438400" y="6225824"/>
            <a:ext cx="685800" cy="51481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pic>
        <p:nvPicPr>
          <p:cNvPr id="9" name="Picture 8" descr="A picture containing text, sky, map&#10;&#10;Description automatically generated">
            <a:extLst>
              <a:ext uri="{FF2B5EF4-FFF2-40B4-BE49-F238E27FC236}">
                <a16:creationId xmlns:a16="http://schemas.microsoft.com/office/drawing/2014/main" id="{C313F395-023B-D743-B811-9859E137F1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1791" y="609600"/>
            <a:ext cx="4315009" cy="232591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B2C288C8-0898-F444-9565-E7A161CD7550}"/>
              </a:ext>
            </a:extLst>
          </p:cNvPr>
          <p:cNvGrpSpPr/>
          <p:nvPr/>
        </p:nvGrpSpPr>
        <p:grpSpPr>
          <a:xfrm>
            <a:off x="152401" y="2590800"/>
            <a:ext cx="4540762" cy="3481503"/>
            <a:chOff x="152401" y="2590800"/>
            <a:chExt cx="4540762" cy="348150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7523CAD-E873-BE42-A713-8E1B1F1A0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2401" y="2590800"/>
              <a:ext cx="4540762" cy="34815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BD7298F-AEA8-0140-A3F4-907491AD64CF}"/>
                </a:ext>
              </a:extLst>
            </p:cNvPr>
            <p:cNvSpPr txBox="1"/>
            <p:nvPr/>
          </p:nvSpPr>
          <p:spPr>
            <a:xfrm>
              <a:off x="785782" y="2701504"/>
              <a:ext cx="1423788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+mj-lt"/>
                </a:rPr>
                <a:t>Before cut </a:t>
              </a:r>
            </a:p>
            <a:p>
              <a:r>
                <a:rPr lang="en-US" dirty="0">
                  <a:latin typeface="+mj-lt"/>
                </a:rPr>
                <a:t>in unit of m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0ED3548-9026-9A47-B2C6-CA8241346327}"/>
              </a:ext>
            </a:extLst>
          </p:cNvPr>
          <p:cNvGrpSpPr/>
          <p:nvPr/>
        </p:nvGrpSpPr>
        <p:grpSpPr>
          <a:xfrm>
            <a:off x="4879427" y="2826603"/>
            <a:ext cx="4127938" cy="3245699"/>
            <a:chOff x="4879427" y="2826603"/>
            <a:chExt cx="4127938" cy="324569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47E8926-9135-6C43-A9B3-E5A6F5F355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79427" y="3063873"/>
              <a:ext cx="4127938" cy="3008429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48D98D0-E076-F34B-B9D2-75D8E755F770}"/>
                </a:ext>
              </a:extLst>
            </p:cNvPr>
            <p:cNvSpPr txBox="1"/>
            <p:nvPr/>
          </p:nvSpPr>
          <p:spPr>
            <a:xfrm>
              <a:off x="5307576" y="2826603"/>
              <a:ext cx="1550424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+mj-lt"/>
                </a:rPr>
                <a:t>After cut</a:t>
              </a:r>
            </a:p>
            <a:p>
              <a:r>
                <a:rPr lang="en-US" dirty="0">
                  <a:latin typeface="+mj-lt"/>
                </a:rPr>
                <a:t>in unit of cm</a:t>
              </a:r>
            </a:p>
          </p:txBody>
        </p:sp>
      </p:grp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B7B5CB5-4F81-394A-BC67-A6A0568B1B06}"/>
              </a:ext>
            </a:extLst>
          </p:cNvPr>
          <p:cNvCxnSpPr>
            <a:cxnSpLocks/>
          </p:cNvCxnSpPr>
          <p:nvPr/>
        </p:nvCxnSpPr>
        <p:spPr bwMode="auto">
          <a:xfrm>
            <a:off x="3886200" y="1371600"/>
            <a:ext cx="1676400" cy="524203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7147BE2-B98A-1C4E-94D2-F7E77B31CA3B}"/>
              </a:ext>
            </a:extLst>
          </p:cNvPr>
          <p:cNvGrpSpPr/>
          <p:nvPr/>
        </p:nvGrpSpPr>
        <p:grpSpPr>
          <a:xfrm>
            <a:off x="6410316" y="3352800"/>
            <a:ext cx="533080" cy="2133600"/>
            <a:chOff x="6410316" y="3352800"/>
            <a:chExt cx="533080" cy="2133600"/>
          </a:xfrm>
        </p:grpSpPr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C4DA1C21-6A74-9D4D-902F-2CC149475CB3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943396" y="3352800"/>
              <a:ext cx="0" cy="2133600"/>
            </a:xfrm>
            <a:prstGeom prst="straightConnector1">
              <a:avLst/>
            </a:prstGeom>
            <a:noFill/>
            <a:ln w="730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5EC9F7A-24EC-D940-BC04-C2124930C07F}"/>
                </a:ext>
              </a:extLst>
            </p:cNvPr>
            <p:cNvSpPr txBox="1"/>
            <p:nvPr/>
          </p:nvSpPr>
          <p:spPr>
            <a:xfrm rot="16010976">
              <a:off x="6119211" y="4188768"/>
              <a:ext cx="1043876" cy="461665"/>
            </a:xfrm>
            <a:prstGeom prst="rect">
              <a:avLst/>
            </a:prstGeom>
            <a:solidFill>
              <a:srgbClr val="EFFFAE">
                <a:alpha val="60000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FF0000"/>
                  </a:solidFill>
                  <a:latin typeface="+mj-lt"/>
                </a:rPr>
                <a:t>100 cm</a:t>
              </a: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5A9E5-9066-A476-6DAA-3A0DC4F73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1EE32B-3679-41EA-3BF9-214226B7B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486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5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5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9818D29-38A3-BE49-A2A7-6917D3BD52B1}"/>
              </a:ext>
            </a:extLst>
          </p:cNvPr>
          <p:cNvGrpSpPr/>
          <p:nvPr/>
        </p:nvGrpSpPr>
        <p:grpSpPr>
          <a:xfrm>
            <a:off x="4371887" y="446799"/>
            <a:ext cx="4624968" cy="3054350"/>
            <a:chOff x="4371887" y="446799"/>
            <a:chExt cx="4624968" cy="305435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B4DEA112-9AE6-FB46-8B7F-4551122E9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71887" y="446799"/>
              <a:ext cx="4624968" cy="3054350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E50DCAA-69A4-3647-BCE4-2BB56D74BAA6}"/>
                </a:ext>
              </a:extLst>
            </p:cNvPr>
            <p:cNvSpPr txBox="1"/>
            <p:nvPr/>
          </p:nvSpPr>
          <p:spPr>
            <a:xfrm>
              <a:off x="4953000" y="683232"/>
              <a:ext cx="12250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0000"/>
                  </a:solidFill>
                  <a:latin typeface="+mj-lt"/>
                </a:rPr>
                <a:t>All photons</a:t>
              </a:r>
            </a:p>
          </p:txBody>
        </p:sp>
      </p:grp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3/10/26</a:t>
            </a:r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0" y="5644"/>
            <a:ext cx="8839200" cy="609600"/>
          </a:xfrm>
        </p:spPr>
        <p:txBody>
          <a:bodyPr/>
          <a:lstStyle/>
          <a:p>
            <a:pPr lvl="0" latinLnBrk="1"/>
            <a:r>
              <a:rPr lang="en-US" b="1" dirty="0"/>
              <a:t>DAMSA Detector Study </a:t>
            </a:r>
            <a:r>
              <a:rPr lang="en-US" b="1" dirty="0" err="1"/>
              <a:t>E</a:t>
            </a:r>
            <a:r>
              <a:rPr lang="en-US" b="1" baseline="-25000" dirty="0" err="1">
                <a:latin typeface="Symbol" pitchFamily="2" charset="2"/>
              </a:rPr>
              <a:t>g</a:t>
            </a:r>
            <a:r>
              <a:rPr lang="en-US" b="1" dirty="0"/>
              <a:t> Cut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533400"/>
            <a:ext cx="4138032" cy="56642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Geometry implemented in GEANT4</a:t>
            </a:r>
          </a:p>
          <a:p>
            <a:pPr>
              <a:lnSpc>
                <a:spcPct val="90000"/>
              </a:lnSpc>
            </a:pPr>
            <a:r>
              <a:rPr lang="en-US" dirty="0"/>
              <a:t>10</a:t>
            </a:r>
            <a:r>
              <a:rPr lang="en-US" baseline="30000" dirty="0"/>
              <a:t>8</a:t>
            </a:r>
            <a:r>
              <a:rPr lang="en-US" dirty="0"/>
              <a:t> 600MeV protons injected to dump</a:t>
            </a:r>
          </a:p>
          <a:p>
            <a:pPr>
              <a:lnSpc>
                <a:spcPct val="90000"/>
              </a:lnSpc>
            </a:pPr>
            <a:r>
              <a:rPr lang="en-US" dirty="0"/>
              <a:t>260k neutrons enter the decay chamber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2.6x10</a:t>
            </a:r>
            <a:r>
              <a:rPr lang="en-US" sz="2400" baseline="30000" dirty="0"/>
              <a:t>-3</a:t>
            </a:r>
            <a:r>
              <a:rPr lang="en-US" sz="2400" dirty="0"/>
              <a:t> n/p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1.6x10</a:t>
            </a:r>
            <a:r>
              <a:rPr lang="en-US" sz="2800" baseline="30000" dirty="0"/>
              <a:t>6</a:t>
            </a:r>
            <a:r>
              <a:rPr lang="en-US" sz="2800" dirty="0"/>
              <a:t> </a:t>
            </a:r>
            <a:r>
              <a:rPr lang="en-US" sz="2800" dirty="0">
                <a:latin typeface="Symbol" pitchFamily="2" charset="2"/>
              </a:rPr>
              <a:t>g</a:t>
            </a:r>
            <a:r>
              <a:rPr lang="en-US" sz="2800" dirty="0"/>
              <a:t> produced from n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3.2</a:t>
            </a:r>
            <a:r>
              <a:rPr lang="en-US" sz="2800" dirty="0"/>
              <a:t>x10</a:t>
            </a:r>
            <a:r>
              <a:rPr lang="en-US" sz="2800" baseline="30000" dirty="0"/>
              <a:t>3</a:t>
            </a:r>
            <a:r>
              <a:rPr lang="en-US" sz="2800" dirty="0"/>
              <a:t> </a:t>
            </a:r>
            <a:r>
              <a:rPr lang="en-US" sz="2800" dirty="0">
                <a:latin typeface="Symbol" pitchFamily="2" charset="2"/>
              </a:rPr>
              <a:t>g </a:t>
            </a:r>
            <a:r>
              <a:rPr lang="en-US" sz="2800" dirty="0"/>
              <a:t>with E&gt;5MeV </a:t>
            </a:r>
            <a:r>
              <a:rPr lang="en-US" sz="2800" dirty="0">
                <a:sym typeface="Wingdings" pitchFamily="2" charset="2"/>
              </a:rPr>
              <a:t> ~1k enter the detector fiducial volume 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5.1x10</a:t>
            </a:r>
            <a:r>
              <a:rPr lang="en-US" sz="2800" baseline="30000" dirty="0"/>
              <a:t>5</a:t>
            </a:r>
            <a:r>
              <a:rPr lang="en-US" sz="2800" dirty="0"/>
              <a:t> </a:t>
            </a:r>
            <a:r>
              <a:rPr lang="en-US" sz="2800" dirty="0">
                <a:latin typeface="Symbol" pitchFamily="2" charset="2"/>
              </a:rPr>
              <a:t>g-</a:t>
            </a:r>
            <a:r>
              <a:rPr lang="en-US" sz="2800" dirty="0"/>
              <a:t>pair combination possib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6D8C82-8CF2-3A4E-B3B9-94A1C5F8C60F}"/>
              </a:ext>
            </a:extLst>
          </p:cNvPr>
          <p:cNvSpPr/>
          <p:nvPr/>
        </p:nvSpPr>
        <p:spPr bwMode="auto">
          <a:xfrm>
            <a:off x="2438400" y="6225824"/>
            <a:ext cx="685800" cy="51481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47D09B-B814-4744-A682-0973248C54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7844" y="3581400"/>
            <a:ext cx="4533756" cy="2616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AF9616D-0788-7C4E-9949-38E93C523FAC}"/>
              </a:ext>
            </a:extLst>
          </p:cNvPr>
          <p:cNvSpPr txBox="1"/>
          <p:nvPr/>
        </p:nvSpPr>
        <p:spPr>
          <a:xfrm>
            <a:off x="4876800" y="3540234"/>
            <a:ext cx="11272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err="1">
                <a:solidFill>
                  <a:srgbClr val="FF0000"/>
                </a:solidFill>
                <a:latin typeface="+mj-lt"/>
              </a:rPr>
              <a:t>E</a:t>
            </a:r>
            <a:r>
              <a:rPr lang="en-US" sz="2000" baseline="-25000" dirty="0" err="1">
                <a:solidFill>
                  <a:srgbClr val="FF0000"/>
                </a:solidFill>
                <a:latin typeface="Symbol" pitchFamily="2" charset="2"/>
              </a:rPr>
              <a:t>g</a:t>
            </a:r>
            <a:r>
              <a:rPr lang="en-US" sz="2000" dirty="0">
                <a:solidFill>
                  <a:srgbClr val="FF0000"/>
                </a:solidFill>
                <a:latin typeface="+mj-lt"/>
              </a:rPr>
              <a:t>&gt;5MeV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7E0AD3-1491-3427-5334-0089E56721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36A0437-C9A1-9650-F255-790CC64AB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643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15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3/10/26</a:t>
            </a:r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0" y="152400"/>
            <a:ext cx="88392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Neutron Background Reduction Summa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6D8C82-8CF2-3A4E-B3B9-94A1C5F8C60F}"/>
              </a:ext>
            </a:extLst>
          </p:cNvPr>
          <p:cNvSpPr/>
          <p:nvPr/>
        </p:nvSpPr>
        <p:spPr bwMode="auto">
          <a:xfrm>
            <a:off x="2438400" y="6225824"/>
            <a:ext cx="685800" cy="51481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8753B0-D5A9-1764-F401-7CFD68DBEAE8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381000" y="824276"/>
            <a:ext cx="6838560" cy="5450400"/>
          </a:xfrm>
          <a:prstGeom prst="rect">
            <a:avLst/>
          </a:prstGeom>
          <a:ln w="0"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7F934B7-F719-5854-F2B7-583A2E130CD3}"/>
              </a:ext>
            </a:extLst>
          </p:cNvPr>
          <p:cNvSpPr txBox="1"/>
          <p:nvPr/>
        </p:nvSpPr>
        <p:spPr>
          <a:xfrm>
            <a:off x="6956659" y="3131403"/>
            <a:ext cx="2148831" cy="8309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neutron-induced photons are reduced by (1 / 2.74e-5) = </a:t>
            </a:r>
            <a:r>
              <a:rPr lang="en-US" sz="1600" b="1" dirty="0">
                <a:solidFill>
                  <a:srgbClr val="FF0000"/>
                </a:solidFill>
              </a:rPr>
              <a:t>3.6e-6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C79E038-8E36-6CFE-BB51-EC9E60BF4599}"/>
              </a:ext>
            </a:extLst>
          </p:cNvPr>
          <p:cNvCxnSpPr>
            <a:cxnSpLocks/>
          </p:cNvCxnSpPr>
          <p:nvPr/>
        </p:nvCxnSpPr>
        <p:spPr>
          <a:xfrm>
            <a:off x="6629400" y="3159652"/>
            <a:ext cx="0" cy="779647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ABCF7C5-3DC4-7EBE-4C43-CDDE7180C7B5}"/>
              </a:ext>
            </a:extLst>
          </p:cNvPr>
          <p:cNvSpPr txBox="1"/>
          <p:nvPr/>
        </p:nvSpPr>
        <p:spPr>
          <a:xfrm>
            <a:off x="5903859" y="5068849"/>
            <a:ext cx="344541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4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B99F01-6403-DD42-C6D5-EC941E420CE6}"/>
              </a:ext>
            </a:extLst>
          </p:cNvPr>
          <p:cNvSpPr txBox="1"/>
          <p:nvPr/>
        </p:nvSpPr>
        <p:spPr>
          <a:xfrm>
            <a:off x="6958265" y="4837093"/>
            <a:ext cx="2147225" cy="9541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solidFill>
                  <a:srgbClr val="FF0000"/>
                </a:solidFill>
              </a:rPr>
              <a:t>Overall rejection factors </a:t>
            </a:r>
            <a:br>
              <a:rPr lang="en-US" altLang="ko-KR" sz="1400" b="1" dirty="0">
                <a:solidFill>
                  <a:srgbClr val="FF0000"/>
                </a:solidFill>
              </a:rPr>
            </a:br>
            <a:r>
              <a:rPr lang="en-US" altLang="ko-KR" sz="1400" b="1" dirty="0">
                <a:solidFill>
                  <a:srgbClr val="FF0000"/>
                </a:solidFill>
              </a:rPr>
              <a:t>1.92e-7</a:t>
            </a:r>
            <a:br>
              <a:rPr lang="en-US" altLang="ko-KR" sz="1400" b="1" dirty="0">
                <a:solidFill>
                  <a:srgbClr val="FF0000"/>
                </a:solidFill>
              </a:rPr>
            </a:br>
            <a:r>
              <a:rPr lang="en-US" sz="1400" b="1" dirty="0">
                <a:solidFill>
                  <a:srgbClr val="FF0000"/>
                </a:solidFill>
              </a:rPr>
              <a:t>9.51e-9</a:t>
            </a:r>
            <a:r>
              <a:rPr lang="en-US" sz="1400" dirty="0"/>
              <a:t> </a:t>
            </a:r>
            <a:br>
              <a:rPr lang="en-US" sz="1400" dirty="0"/>
            </a:br>
            <a:r>
              <a:rPr lang="en-US" sz="1400" b="1" dirty="0">
                <a:solidFill>
                  <a:srgbClr val="FF0000"/>
                </a:solidFill>
              </a:rPr>
              <a:t>1.54e-10</a:t>
            </a:r>
            <a:endParaRPr lang="en-US" sz="14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D6CAF21-04A3-6633-A84C-81B28958CCF0}"/>
              </a:ext>
            </a:extLst>
          </p:cNvPr>
          <p:cNvCxnSpPr>
            <a:cxnSpLocks/>
            <a:endCxn id="13" idx="3"/>
          </p:cNvCxnSpPr>
          <p:nvPr/>
        </p:nvCxnSpPr>
        <p:spPr>
          <a:xfrm flipV="1">
            <a:off x="5812857" y="5314147"/>
            <a:ext cx="3292633" cy="472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F88E56C-9892-35E1-AB08-2E7BB077BBE5}"/>
              </a:ext>
            </a:extLst>
          </p:cNvPr>
          <p:cNvCxnSpPr>
            <a:cxnSpLocks/>
          </p:cNvCxnSpPr>
          <p:nvPr/>
        </p:nvCxnSpPr>
        <p:spPr>
          <a:xfrm>
            <a:off x="5792006" y="5105517"/>
            <a:ext cx="33134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B4FB940-77D6-BF3C-920F-92BABFA23075}"/>
              </a:ext>
            </a:extLst>
          </p:cNvPr>
          <p:cNvCxnSpPr>
            <a:cxnSpLocks/>
          </p:cNvCxnSpPr>
          <p:nvPr/>
        </p:nvCxnSpPr>
        <p:spPr>
          <a:xfrm>
            <a:off x="5801626" y="5529026"/>
            <a:ext cx="330386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822E501-501B-08BC-29B4-D1E61DFB1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AB857C-EAE6-7DBA-6AF7-E69F29FCF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0978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>
          <a:xfrm>
            <a:off x="238109" y="-76200"/>
            <a:ext cx="8686800" cy="838200"/>
          </a:xfrm>
        </p:spPr>
        <p:txBody>
          <a:bodyPr/>
          <a:lstStyle/>
          <a:p>
            <a:r>
              <a:rPr lang="en-US" sz="48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DAMSA Detector Requirements</a:t>
            </a:r>
          </a:p>
        </p:txBody>
      </p:sp>
      <p:sp>
        <p:nvSpPr>
          <p:cNvPr id="788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76926" y="609600"/>
            <a:ext cx="8647983" cy="56388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Physics driven requirements to accomplish</a:t>
            </a:r>
          </a:p>
          <a:p>
            <a:pPr marL="971550" lvl="1" indent="-51435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Sub-ns timing difference resolution</a:t>
            </a:r>
          </a:p>
          <a:p>
            <a:pPr marL="971550" lvl="1" indent="-51435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Good vertex pointing resolution for </a:t>
            </a:r>
            <a:r>
              <a:rPr lang="en-US" dirty="0">
                <a:solidFill>
                  <a:srgbClr val="7030A0"/>
                </a:solidFill>
                <a:latin typeface="Symbol" pitchFamily="2" charset="2"/>
                <a:cs typeface="Arial Narrow" panose="020B0604020202020204" pitchFamily="34" charset="0"/>
                <a:sym typeface="Wingdings" pitchFamily="2" charset="2"/>
              </a:rPr>
              <a:t>gg</a:t>
            </a: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 and 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e</a:t>
            </a:r>
            <a:r>
              <a:rPr lang="en-US" baseline="30000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+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e</a:t>
            </a:r>
            <a:r>
              <a:rPr lang="en-US" baseline="30000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-</a:t>
            </a:r>
            <a:endParaRPr lang="en-US" dirty="0">
              <a:solidFill>
                <a:srgbClr val="7030A0"/>
              </a:solidFill>
              <a:latin typeface="Arial Narrow" panose="020B0604020202020204" pitchFamily="34" charset="0"/>
              <a:cs typeface="Arial Narrow" panose="020B0604020202020204" pitchFamily="34" charset="0"/>
              <a:sym typeface="Wingdings" pitchFamily="2" charset="2"/>
            </a:endParaRPr>
          </a:p>
          <a:p>
            <a:pPr marL="971550" lvl="1" indent="-51435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Low E threshold identification of 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e</a:t>
            </a:r>
            <a:r>
              <a:rPr lang="en-US" baseline="30000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+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e</a:t>
            </a:r>
            <a:r>
              <a:rPr lang="en-US" baseline="30000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-</a:t>
            </a:r>
          </a:p>
          <a:p>
            <a:pPr marL="1371600" lvl="2" indent="-514350">
              <a:spcBef>
                <a:spcPts val="0"/>
              </a:spcBef>
            </a:pPr>
            <a:r>
              <a:rPr lang="en-US" dirty="0">
                <a:solidFill>
                  <a:srgbClr val="00B05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Charge identification to help further background mitigation</a:t>
            </a:r>
          </a:p>
          <a:p>
            <a:pPr marL="971550" lvl="1" indent="-51435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As fine an energy resolution as reasonably accomplishable</a:t>
            </a:r>
          </a:p>
          <a:p>
            <a:pPr marL="571500" indent="-514350">
              <a:spcBef>
                <a:spcPts val="0"/>
              </a:spcBef>
            </a:pP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A proposed configuration – from up to down stream</a:t>
            </a:r>
          </a:p>
          <a:p>
            <a:pPr marL="971550" lvl="1" indent="-514350">
              <a:spcBef>
                <a:spcPts val="0"/>
              </a:spcBef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20cm(D)x30cm(L) vacuum chamber</a:t>
            </a:r>
          </a:p>
          <a:p>
            <a:pPr marL="971550" lvl="1" indent="-514350">
              <a:spcBef>
                <a:spcPts val="0"/>
              </a:spcBef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~6 rad-hard Si-tracking layers under B field for charge ID</a:t>
            </a:r>
          </a:p>
          <a:p>
            <a:pPr marL="971550" lvl="1" indent="-514350">
              <a:spcBef>
                <a:spcPts val="0"/>
              </a:spcBef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44cm depth (24.5X</a:t>
            </a:r>
            <a:r>
              <a:rPr lang="en-US" baseline="-25000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0</a:t>
            </a: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) of highly granular 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CsI</a:t>
            </a: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 total absorption ECA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3/10/26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EF5349-54A3-1047-54CF-285B76C626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9411C3-6601-8D92-0E8C-CAE3081F6F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092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88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88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88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788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788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88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88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88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88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788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851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>
          <a:xfrm>
            <a:off x="626165" y="0"/>
            <a:ext cx="82296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Physics Motivation For DSP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2460" y="576470"/>
            <a:ext cx="8713305" cy="2079354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latin typeface="Arial Narrow" charset="0"/>
                <a:ea typeface="ＭＳ Ｐゴシック" charset="0"/>
              </a:rPr>
              <a:t>Direct searches have challenges in kinematic reach, leaving low mass range un-explored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D3282C28-5B27-B646-9A2D-FD5F659789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04" y="1588406"/>
            <a:ext cx="3746996" cy="4202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trategy: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earch for dark sector particles in unexplored kinematic regime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Make and discover DSPs in an accelerator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Establish the infra to better understand DM </a:t>
            </a:r>
          </a:p>
        </p:txBody>
      </p:sp>
      <p:pic>
        <p:nvPicPr>
          <p:cNvPr id="4" name="Picture 3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1F4E6E0A-EAD7-4F05-3292-5B46826BE9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0" y="1621536"/>
            <a:ext cx="5210944" cy="4474464"/>
          </a:xfrm>
          <a:prstGeom prst="rect">
            <a:avLst/>
          </a:prstGeom>
        </p:spPr>
      </p:pic>
      <p:sp>
        <p:nvSpPr>
          <p:cNvPr id="5" name="Right Arrow 4">
            <a:extLst>
              <a:ext uri="{FF2B5EF4-FFF2-40B4-BE49-F238E27FC236}">
                <a16:creationId xmlns:a16="http://schemas.microsoft.com/office/drawing/2014/main" id="{8BA68565-45FB-1F48-A213-FCBB15148B8C}"/>
              </a:ext>
            </a:extLst>
          </p:cNvPr>
          <p:cNvSpPr/>
          <p:nvPr/>
        </p:nvSpPr>
        <p:spPr bwMode="auto">
          <a:xfrm flipH="1">
            <a:off x="4346713" y="2362200"/>
            <a:ext cx="1063488" cy="2934653"/>
          </a:xfrm>
          <a:prstGeom prst="rightArrow">
            <a:avLst/>
          </a:prstGeom>
          <a:solidFill>
            <a:srgbClr val="92D050">
              <a:alpha val="35000"/>
            </a:srgb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Focus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00" b="1" dirty="0">
              <a:solidFill>
                <a:srgbClr val="FF0000"/>
              </a:solidFill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 her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2F4372-3DFF-C0C6-15BE-6F241437A54B}"/>
              </a:ext>
            </a:extLst>
          </p:cNvPr>
          <p:cNvSpPr/>
          <p:nvPr/>
        </p:nvSpPr>
        <p:spPr>
          <a:xfrm>
            <a:off x="5548700" y="3377724"/>
            <a:ext cx="22859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Future: </a:t>
            </a:r>
            <a:r>
              <a:rPr lang="en-US" sz="1800" dirty="0" err="1">
                <a:solidFill>
                  <a:schemeClr val="bg1"/>
                </a:solidFill>
                <a:latin typeface="Open Sans"/>
              </a:rPr>
              <a:t>SuperCDMS</a:t>
            </a:r>
            <a:r>
              <a:rPr lang="en-US" sz="1800" dirty="0">
                <a:solidFill>
                  <a:schemeClr val="bg1"/>
                </a:solidFill>
                <a:latin typeface="Open Sans"/>
              </a:rPr>
              <a:t> SNOLAB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25FB87-9669-5ED5-FC62-8BECB25AF86E}"/>
              </a:ext>
            </a:extLst>
          </p:cNvPr>
          <p:cNvSpPr/>
          <p:nvPr/>
        </p:nvSpPr>
        <p:spPr>
          <a:xfrm>
            <a:off x="4520881" y="5181600"/>
            <a:ext cx="3099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Solar Neutrino Background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1" name="Notched Right Arrow 10">
            <a:extLst>
              <a:ext uri="{FF2B5EF4-FFF2-40B4-BE49-F238E27FC236}">
                <a16:creationId xmlns:a16="http://schemas.microsoft.com/office/drawing/2014/main" id="{CD7C9E02-8061-A740-9B72-8D2035CA55C4}"/>
              </a:ext>
            </a:extLst>
          </p:cNvPr>
          <p:cNvSpPr/>
          <p:nvPr/>
        </p:nvSpPr>
        <p:spPr bwMode="auto">
          <a:xfrm rot="18808504">
            <a:off x="6787442" y="2067059"/>
            <a:ext cx="1519467" cy="917079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No DM</a:t>
            </a: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6223AE-D5E0-4CE3-0C3D-D3FDAA41B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DA406B-17D6-B572-8D94-D47F7E2DE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242F3ED-3055-0790-9A52-BD352E075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747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1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5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8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619" grpId="0" build="p"/>
      <p:bldP spid="9" grpId="0" uiExpand="1" build="allAtOnce"/>
      <p:bldP spid="5" grpId="0" animBg="1"/>
      <p:bldP spid="1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5344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The DAMSA Pathfinder Experiment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" y="533400"/>
            <a:ext cx="9143999" cy="548075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1" dirty="0">
                <a:solidFill>
                  <a:srgbClr val="FF0000"/>
                </a:solidFill>
              </a:rPr>
              <a:t>The goal: Mount and complete a </a:t>
            </a:r>
            <a:r>
              <a:rPr lang="en-US" sz="2400" b="1" u="sng" dirty="0">
                <a:solidFill>
                  <a:srgbClr val="FF40FF"/>
                </a:solidFill>
              </a:rPr>
              <a:t>physics pathfinder in the next 3 </a:t>
            </a:r>
            <a:r>
              <a:rPr lang="en-US" sz="2400" b="1" u="sng" dirty="0" err="1">
                <a:solidFill>
                  <a:srgbClr val="FF40FF"/>
                </a:solidFill>
              </a:rPr>
              <a:t>yrs</a:t>
            </a:r>
            <a:endParaRPr lang="en-US" sz="2400" b="1" u="sng" dirty="0">
              <a:solidFill>
                <a:srgbClr val="FF40FF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/>
              <a:t>Beam: 8GeV e-beams at SLAC’s LESA </a:t>
            </a:r>
            <a:r>
              <a:rPr lang="en-US" sz="2400" dirty="0">
                <a:sym typeface="Wingdings" pitchFamily="2" charset="2"/>
              </a:rPr>
              <a:t> greatly reduced neutron backgrounds, compared to proton beams,  provides flexibility</a:t>
            </a:r>
            <a:endParaRPr lang="en-US" sz="2400" dirty="0"/>
          </a:p>
          <a:p>
            <a:pPr>
              <a:spcBef>
                <a:spcPts val="600"/>
              </a:spcBef>
            </a:pPr>
            <a:r>
              <a:rPr lang="en-US" sz="2400" dirty="0"/>
              <a:t>Target: 5cm x 5cm x 15cm W target (~43X</a:t>
            </a:r>
            <a:r>
              <a:rPr lang="en-US" sz="2400" baseline="-25000" dirty="0"/>
              <a:t>0</a:t>
            </a:r>
            <a:r>
              <a:rPr lang="en-US" sz="2400" dirty="0"/>
              <a:t>)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Vacuum decay chamber : 10cm (r) x 30cm (L)</a:t>
            </a:r>
          </a:p>
          <a:p>
            <a:pPr lvl="1">
              <a:spcBef>
                <a:spcPts val="600"/>
              </a:spcBef>
            </a:pPr>
            <a:r>
              <a:rPr lang="en-US" sz="2000" dirty="0"/>
              <a:t>Enable the two EM particles from the vertex in vacuum to be separated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Detector: 6 layers of 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10cmx10cm Si tracker under B=1T permanent magnet </a:t>
            </a:r>
            <a:r>
              <a:rPr lang="en-US" sz="2400" dirty="0"/>
              <a:t>+ 44 layers of </a:t>
            </a:r>
            <a:r>
              <a:rPr lang="en-US" sz="2400" dirty="0">
                <a:solidFill>
                  <a:srgbClr val="FF0000"/>
                </a:solidFill>
              </a:rPr>
              <a:t>12x12x1cm</a:t>
            </a:r>
            <a:r>
              <a:rPr lang="en-US" sz="2400" baseline="30000" dirty="0">
                <a:solidFill>
                  <a:srgbClr val="FF0000"/>
                </a:solidFill>
              </a:rPr>
              <a:t>3</a:t>
            </a:r>
            <a:r>
              <a:rPr lang="en-US" sz="2400" dirty="0">
                <a:solidFill>
                  <a:srgbClr val="FF0000"/>
                </a:solidFill>
              </a:rPr>
              <a:t> 4D </a:t>
            </a:r>
            <a:r>
              <a:rPr lang="en-US" sz="2400" dirty="0" err="1">
                <a:solidFill>
                  <a:srgbClr val="FF0000"/>
                </a:solidFill>
              </a:rPr>
              <a:t>CsI</a:t>
            </a:r>
            <a:r>
              <a:rPr lang="en-US" sz="2400" dirty="0">
                <a:solidFill>
                  <a:srgbClr val="FF0000"/>
                </a:solidFill>
              </a:rPr>
              <a:t> total absorption </a:t>
            </a:r>
            <a:r>
              <a:rPr lang="en-US" sz="2400" dirty="0" err="1">
                <a:solidFill>
                  <a:srgbClr val="FF0000"/>
                </a:solidFill>
              </a:rPr>
              <a:t>Ecal</a:t>
            </a:r>
            <a:r>
              <a:rPr lang="en-US" sz="2400" dirty="0">
                <a:solidFill>
                  <a:srgbClr val="FF0000"/>
                </a:solidFill>
              </a:rPr>
              <a:t> (24.5X</a:t>
            </a:r>
            <a:r>
              <a:rPr lang="en-US" sz="2400" baseline="-25000" dirty="0">
                <a:solidFill>
                  <a:srgbClr val="FF0000"/>
                </a:solidFill>
              </a:rPr>
              <a:t>0</a:t>
            </a:r>
            <a:r>
              <a:rPr lang="en-US" sz="2400" dirty="0">
                <a:solidFill>
                  <a:srgbClr val="FF0000"/>
                </a:solidFill>
              </a:rPr>
              <a:t>) </a:t>
            </a:r>
            <a:endParaRPr lang="en-US" sz="20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7" name="Picture 6" descr="A diagram of a section of a section of a section of a section of a section of a section of a section of a section of a section of a section of a section of a section of&#10;&#10;Description automatically generated">
            <a:extLst>
              <a:ext uri="{FF2B5EF4-FFF2-40B4-BE49-F238E27FC236}">
                <a16:creationId xmlns:a16="http://schemas.microsoft.com/office/drawing/2014/main" id="{DC49FA48-CC10-ED7A-A2A9-95D8C80302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3886200"/>
            <a:ext cx="6944139" cy="28264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38171D1-351B-4F1E-794B-BD1393C0AF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514" y="3273778"/>
            <a:ext cx="8750710" cy="353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745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1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A9D76B-1752-DDFD-7F83-89E1FF6FA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>
            <a:extLst>
              <a:ext uri="{FF2B5EF4-FFF2-40B4-BE49-F238E27FC236}">
                <a16:creationId xmlns:a16="http://schemas.microsoft.com/office/drawing/2014/main" id="{9C0F3722-B244-ED07-EA06-9D63E2B1519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5344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DAMSA in ESA?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DCAC76C-732B-457F-C0AB-079628D91D7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4D91FA-0848-516D-5CA7-3F24EF1B1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7A4FF9F-B66F-85E8-ADD9-D8D47C283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10" name="Picture 9" descr="A person standing in a room with a long rectangular object&#10;&#10;AI-generated content may be incorrect.">
            <a:extLst>
              <a:ext uri="{FF2B5EF4-FFF2-40B4-BE49-F238E27FC236}">
                <a16:creationId xmlns:a16="http://schemas.microsoft.com/office/drawing/2014/main" id="{4E4E729F-B631-88E1-FC2C-1D1A8F677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643094"/>
            <a:ext cx="5340140" cy="40051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7B322F4-0B0A-5BE1-DDDB-D04685A0FD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0549" y="3200400"/>
            <a:ext cx="4572000" cy="3429000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FC85F8A2-70F9-8D28-C870-845B8FA2DC2F}"/>
              </a:ext>
            </a:extLst>
          </p:cNvPr>
          <p:cNvSpPr/>
          <p:nvPr/>
        </p:nvSpPr>
        <p:spPr bwMode="auto">
          <a:xfrm>
            <a:off x="6553200" y="4571999"/>
            <a:ext cx="539540" cy="457201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323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a computer&#10;&#10;Description automatically generated">
            <a:extLst>
              <a:ext uri="{FF2B5EF4-FFF2-40B4-BE49-F238E27FC236}">
                <a16:creationId xmlns:a16="http://schemas.microsoft.com/office/drawing/2014/main" id="{4BEBA7EA-01AF-B4BE-6150-857B34959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505200"/>
            <a:ext cx="7848600" cy="2841735"/>
          </a:xfrm>
          <a:prstGeom prst="rect">
            <a:avLst/>
          </a:prstGeom>
        </p:spPr>
      </p:pic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– The Tracker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799" y="1905000"/>
            <a:ext cx="6629401" cy="3880556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en-US" sz="2400" dirty="0"/>
              <a:t>Position resolution of 35 – 50 </a:t>
            </a:r>
            <a:r>
              <a:rPr lang="en-US" sz="2400" dirty="0">
                <a:latin typeface="Symbol" pitchFamily="2" charset="2"/>
              </a:rPr>
              <a:t>m</a:t>
            </a:r>
            <a:r>
              <a:rPr lang="en-US" sz="2400" dirty="0"/>
              <a:t>m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Timing resolution per track &lt;35ps (single hit resolution &lt;50ps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2" name="Picture 1" descr="A hand holding a circular object with a grid&#10;&#10;Description automatically generated">
            <a:extLst>
              <a:ext uri="{FF2B5EF4-FFF2-40B4-BE49-F238E27FC236}">
                <a16:creationId xmlns:a16="http://schemas.microsoft.com/office/drawing/2014/main" id="{1032D2E3-47BE-2FF6-EC78-9EFFB48BB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0" y="1404056"/>
            <a:ext cx="2333092" cy="1749819"/>
          </a:xfrm>
          <a:prstGeom prst="rect">
            <a:avLst/>
          </a:prstGeom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86304734-6A9A-32EF-D2AD-C74E20B593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412" y="488725"/>
            <a:ext cx="8207188" cy="2729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2800" kern="0" dirty="0">
                <a:solidFill>
                  <a:srgbClr val="FF0000"/>
                </a:solidFill>
              </a:rPr>
              <a:t>KNU in SK </a:t>
            </a:r>
            <a:r>
              <a:rPr lang="en-US" sz="2800" kern="0" dirty="0"/>
              <a:t>responsible for CMS forward LGAD detector</a:t>
            </a:r>
          </a:p>
          <a:p>
            <a:pPr>
              <a:spcBef>
                <a:spcPts val="300"/>
              </a:spcBef>
            </a:pPr>
            <a:r>
              <a:rPr lang="en-US" sz="2800" kern="0" dirty="0"/>
              <a:t>The Low Gain Avalanche Diode (LGAD) consists of 16x16 pixels of 1.3x1.3mm</a:t>
            </a:r>
            <a:r>
              <a:rPr lang="en-US" sz="2800" kern="0" baseline="30000" dirty="0"/>
              <a:t>2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5AF054E4-153E-2181-2AD9-4A1D58A1D5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00" y="3094525"/>
            <a:ext cx="8882743" cy="56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2800" kern="0" dirty="0"/>
              <a:t>High radiation tolerance </a:t>
            </a:r>
            <a:r>
              <a:rPr lang="en-US" sz="2800" kern="0" dirty="0">
                <a:sym typeface="Wingdings" pitchFamily="2" charset="2"/>
              </a:rPr>
              <a:t> DAMSA can be a testing ground</a:t>
            </a:r>
            <a:endParaRPr lang="en-US" sz="2800" kern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E614ED-1159-5BE3-03F1-0C10354EC5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5CD6AD3-7FCA-DC50-D88D-4BFAD7632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371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15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9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" grpId="0" uiExpand="1" build="p"/>
      <p:bldP spid="5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– The ECAL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39044"/>
            <a:ext cx="8763001" cy="548075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800" dirty="0"/>
              <a:t>U. of Chicago built </a:t>
            </a:r>
            <a:r>
              <a:rPr lang="en-US" sz="2800" dirty="0" err="1"/>
              <a:t>CsI</a:t>
            </a:r>
            <a:r>
              <a:rPr lang="en-US" sz="2800" dirty="0"/>
              <a:t> ECAL for K-</a:t>
            </a:r>
            <a:r>
              <a:rPr lang="en-US" sz="2800" dirty="0" err="1"/>
              <a:t>TeV</a:t>
            </a:r>
            <a:r>
              <a:rPr lang="en-US" sz="2800" dirty="0"/>
              <a:t> experiment at Fermilab and the KOTO experiment at KEK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Timing resolution of 200ps accomplished 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Has 16 of 5x5x50cm</a:t>
            </a:r>
            <a:r>
              <a:rPr lang="en-US" sz="2400" baseline="30000" dirty="0"/>
              <a:t>3</a:t>
            </a:r>
            <a:r>
              <a:rPr lang="en-US" sz="2400" dirty="0"/>
              <a:t> undoped </a:t>
            </a:r>
            <a:r>
              <a:rPr lang="en-US" sz="2400" dirty="0" err="1"/>
              <a:t>CsI</a:t>
            </a:r>
            <a:r>
              <a:rPr lang="en-US" sz="2400" dirty="0"/>
              <a:t> crystal blocks in hand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6343FC48-DA55-0EE4-1770-4DC59D6138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5199" y="2362200"/>
            <a:ext cx="5638801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2400" kern="0" dirty="0"/>
              <a:t>Each of these can be cut into 80 or so 1x1x12cm</a:t>
            </a:r>
            <a:r>
              <a:rPr lang="en-US" sz="2400" kern="0" baseline="30000" dirty="0"/>
              <a:t>3</a:t>
            </a:r>
            <a:r>
              <a:rPr lang="en-US" sz="2400" kern="0" dirty="0"/>
              <a:t> bars, read out by 2 </a:t>
            </a:r>
            <a:r>
              <a:rPr lang="en-US" sz="2400" kern="0" dirty="0" err="1"/>
              <a:t>SiPM’s</a:t>
            </a:r>
            <a:r>
              <a:rPr lang="en-US" sz="2400" kern="0" dirty="0"/>
              <a:t> mounted on either end </a:t>
            </a:r>
            <a:r>
              <a:rPr lang="en-US" sz="2400" kern="0" dirty="0">
                <a:sym typeface="Wingdings" pitchFamily="2" charset="2"/>
              </a:rPr>
              <a:t> could provide ~mm level shower position resolution</a:t>
            </a:r>
            <a:endParaRPr lang="en-US" sz="2400" kern="0" dirty="0"/>
          </a:p>
          <a:p>
            <a:pPr lvl="1">
              <a:spcBef>
                <a:spcPts val="600"/>
              </a:spcBef>
            </a:pPr>
            <a:r>
              <a:rPr lang="en-US" sz="2400" kern="0" dirty="0"/>
              <a:t>These bars need to be cut, polished, wrapped and </a:t>
            </a:r>
            <a:r>
              <a:rPr lang="en-US" sz="2400" kern="0" dirty="0" err="1"/>
              <a:t>SiPM</a:t>
            </a:r>
            <a:r>
              <a:rPr lang="en-US" sz="2400" kern="0" dirty="0"/>
              <a:t> mounted </a:t>
            </a:r>
            <a:r>
              <a:rPr lang="en-US" sz="2400" kern="0" dirty="0">
                <a:sym typeface="Wingdings" pitchFamily="2" charset="2"/>
              </a:rPr>
              <a:t> worked with the Ukrainian company, </a:t>
            </a:r>
            <a:r>
              <a:rPr lang="en-US" sz="2400" kern="0" dirty="0" err="1">
                <a:sym typeface="Wingdings" pitchFamily="2" charset="2"/>
              </a:rPr>
              <a:t>ISMa</a:t>
            </a:r>
            <a:r>
              <a:rPr lang="en-US" sz="2400" kern="0" dirty="0">
                <a:sym typeface="Wingdings" pitchFamily="2" charset="2"/>
              </a:rPr>
              <a:t> (Institute for Scintillation Materials) for initial evaluation of UC Crystals and the performance of the cut pieces</a:t>
            </a:r>
            <a:endParaRPr lang="en-US" sz="2400" kern="0" dirty="0"/>
          </a:p>
        </p:txBody>
      </p:sp>
      <p:pic>
        <p:nvPicPr>
          <p:cNvPr id="5" name="Picture 4" descr="A large round object with many small squares&#10;&#10;Description automatically generated">
            <a:extLst>
              <a:ext uri="{FF2B5EF4-FFF2-40B4-BE49-F238E27FC236}">
                <a16:creationId xmlns:a16="http://schemas.microsoft.com/office/drawing/2014/main" id="{FE72D6F0-01EF-0670-CA2E-F3D101F708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598" y="2362200"/>
            <a:ext cx="3657601" cy="39624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B718-ED00-97DB-0AA1-E61FA70EA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1A5095-CDC1-EA47-F032-86D59BECF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667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85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2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77200" cy="539044"/>
          </a:xfrm>
        </p:spPr>
        <p:txBody>
          <a:bodyPr/>
          <a:lstStyle/>
          <a:p>
            <a:pPr lvl="0" latinLnBrk="1"/>
            <a:r>
              <a:rPr lang="en-US" sz="4000" b="1" dirty="0"/>
              <a:t>Progress On ECAL Crystal Bar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91444"/>
            <a:ext cx="8915400" cy="548075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800" dirty="0"/>
              <a:t>Ukrainian </a:t>
            </a:r>
            <a:r>
              <a:rPr lang="en-US" sz="2800" dirty="0" err="1"/>
              <a:t>ISMa</a:t>
            </a:r>
            <a:r>
              <a:rPr lang="en-US" sz="2800" dirty="0"/>
              <a:t> has been very helpful with DAMSA at no costs</a:t>
            </a:r>
          </a:p>
          <a:p>
            <a:pPr>
              <a:spcBef>
                <a:spcPts val="0"/>
              </a:spcBef>
            </a:pPr>
            <a:r>
              <a:rPr lang="en-US" sz="2800" dirty="0"/>
              <a:t>Produced 50 crystal bars of 1x1x12cm</a:t>
            </a:r>
            <a:r>
              <a:rPr lang="en-US" sz="2800" baseline="30000" dirty="0"/>
              <a:t>3</a:t>
            </a:r>
            <a:r>
              <a:rPr lang="en-US" sz="2800" dirty="0"/>
              <a:t> using one 5x5x50cm</a:t>
            </a:r>
            <a:r>
              <a:rPr lang="en-US" sz="2800" baseline="30000" dirty="0"/>
              <a:t>3</a:t>
            </a:r>
            <a:r>
              <a:rPr lang="en-US" sz="2800" dirty="0"/>
              <a:t> U. Chicago </a:t>
            </a:r>
            <a:r>
              <a:rPr lang="en-US" sz="2800" dirty="0" err="1"/>
              <a:t>CsI</a:t>
            </a:r>
            <a:r>
              <a:rPr lang="en-US" sz="2800" dirty="0"/>
              <a:t> crystal block</a:t>
            </a:r>
          </a:p>
          <a:p>
            <a:pPr lvl="1">
              <a:spcBef>
                <a:spcPts val="0"/>
              </a:spcBef>
            </a:pPr>
            <a:r>
              <a:rPr lang="en-US" sz="2400" dirty="0"/>
              <a:t>Bars are cut, polished, FTPE reflector wrapped &amp; </a:t>
            </a:r>
            <a:r>
              <a:rPr lang="en-US" sz="2400" dirty="0" err="1"/>
              <a:t>QCed</a:t>
            </a:r>
            <a:endParaRPr lang="en-US" sz="2400" dirty="0"/>
          </a:p>
          <a:p>
            <a:pPr lvl="1">
              <a:spcBef>
                <a:spcPts val="0"/>
              </a:spcBef>
            </a:pPr>
            <a:r>
              <a:rPr lang="en-US" sz="2400" dirty="0"/>
              <a:t>All 50 bars have been distributed to five collaborating institutions</a:t>
            </a:r>
            <a:endParaRPr lang="en-US" sz="2400" dirty="0">
              <a:sym typeface="Wingdings" pitchFamily="2" charset="2"/>
            </a:endParaRPr>
          </a:p>
          <a:p>
            <a:pPr lvl="2">
              <a:spcBef>
                <a:spcPts val="0"/>
              </a:spcBef>
            </a:pPr>
            <a:r>
              <a:rPr lang="en-US" sz="2000" dirty="0">
                <a:sym typeface="Wingdings" pitchFamily="2" charset="2"/>
              </a:rPr>
              <a:t>SNU, KNU, BNL, UCR and FNAL</a:t>
            </a: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800" dirty="0" err="1"/>
              <a:t>ISMa</a:t>
            </a:r>
            <a:r>
              <a:rPr lang="en-US" sz="2800" dirty="0"/>
              <a:t> engineers claim that they can produce as small as 0.3x0.3x6cm</a:t>
            </a:r>
            <a:r>
              <a:rPr lang="en-US" sz="2800" baseline="30000" dirty="0"/>
              <a:t>3 </a:t>
            </a:r>
            <a:r>
              <a:rPr lang="en-US" sz="2800" dirty="0"/>
              <a:t>fully processed bars and as small as 0.1x0.1x6cm</a:t>
            </a:r>
            <a:r>
              <a:rPr lang="en-US" sz="2800" baseline="30000" dirty="0"/>
              <a:t>3 </a:t>
            </a:r>
            <a:r>
              <a:rPr lang="en-US" sz="2800" dirty="0"/>
              <a:t>unprocessed bars</a:t>
            </a:r>
          </a:p>
          <a:p>
            <a:pPr>
              <a:spcBef>
                <a:spcPts val="0"/>
              </a:spcBef>
            </a:pPr>
            <a:r>
              <a:rPr lang="en-US" sz="2800" dirty="0" err="1"/>
              <a:t>ISMa</a:t>
            </a:r>
            <a:r>
              <a:rPr lang="en-US" sz="2800" dirty="0"/>
              <a:t> provided cost estimates for producing fully processed crystal bars with </a:t>
            </a:r>
            <a:r>
              <a:rPr lang="en-US" sz="2800" dirty="0" err="1"/>
              <a:t>SiPM</a:t>
            </a:r>
            <a:r>
              <a:rPr lang="en-US" sz="2800" dirty="0"/>
              <a:t> mounted</a:t>
            </a:r>
          </a:p>
          <a:p>
            <a:pPr>
              <a:spcBef>
                <a:spcPts val="0"/>
              </a:spcBef>
            </a:pPr>
            <a:r>
              <a:rPr lang="en-US" sz="2800" dirty="0"/>
              <a:t>DOE suggested two other companies as backup</a:t>
            </a:r>
          </a:p>
          <a:p>
            <a:pPr lvl="1">
              <a:spcBef>
                <a:spcPts val="0"/>
              </a:spcBef>
            </a:pPr>
            <a:r>
              <a:rPr lang="en-US" sz="2400" dirty="0"/>
              <a:t>Working with another company, UK, RMD who provided cost estimat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7" name="Picture 6" descr="A group of white plastic sticks on a white piece of paper&#10;&#10;Description automatically generated">
            <a:extLst>
              <a:ext uri="{FF2B5EF4-FFF2-40B4-BE49-F238E27FC236}">
                <a16:creationId xmlns:a16="http://schemas.microsoft.com/office/drawing/2014/main" id="{6BED10D2-B3BD-D0C0-FA1A-D8665EEF2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1753306" y="1364269"/>
            <a:ext cx="5480756" cy="411056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2D4478-0E38-A477-9240-61387008C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DF3040-4874-7443-3A5B-C69535324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268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45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599" y="0"/>
            <a:ext cx="8686801" cy="609600"/>
          </a:xfrm>
        </p:spPr>
        <p:txBody>
          <a:bodyPr/>
          <a:lstStyle/>
          <a:p>
            <a:pPr lvl="0" latinLnBrk="1"/>
            <a:r>
              <a:rPr lang="en-US" b="1" dirty="0"/>
              <a:t>DAMSA – A Phased Approach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09600"/>
            <a:ext cx="8763001" cy="2293513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Phase 0 </a:t>
            </a:r>
            <a:r>
              <a:rPr lang="en-US" sz="2800" dirty="0">
                <a:sym typeface="Wingdings" pitchFamily="2" charset="2"/>
              </a:rPr>
              <a:t> e-beam background validator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easure and validate background MC &amp; test a prototype at 300MeV e-beam at Fermilab’s FAST </a:t>
            </a:r>
            <a:r>
              <a:rPr lang="en-US" sz="2400" dirty="0">
                <a:sym typeface="Wingdings" pitchFamily="2" charset="2"/>
              </a:rPr>
              <a:t> may be able to test physics, as well</a:t>
            </a:r>
            <a:endParaRPr lang="en-US" sz="24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BNL has two prototype detectors of the fine granular calorimeter using the 3DST (1x1x1cm</a:t>
            </a:r>
            <a:r>
              <a:rPr lang="en-US" sz="2400" baseline="30000" dirty="0"/>
              <a:t>3</a:t>
            </a:r>
            <a:r>
              <a:rPr lang="en-US" sz="2400" dirty="0"/>
              <a:t> </a:t>
            </a:r>
            <a:r>
              <a:rPr lang="en-US" sz="2400" dirty="0" err="1"/>
              <a:t>scint</a:t>
            </a:r>
            <a:r>
              <a:rPr lang="en-US" sz="2400" dirty="0"/>
              <a:t>. Cubes)technology, being used in ND280 </a:t>
            </a:r>
            <a:r>
              <a:rPr lang="en-US" sz="2400" dirty="0">
                <a:sym typeface="Wingdings" pitchFamily="2" charset="2"/>
              </a:rPr>
              <a:t> fully equipped with the DAQ system with many spare channels</a:t>
            </a:r>
            <a:endParaRPr lang="en-US" sz="24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62F9FE-3B44-1279-D4CA-0FF026E709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085" y="2845229"/>
            <a:ext cx="4058023" cy="33503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3DFA464-B220-1D69-286F-66249B8303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8893" y="2819400"/>
            <a:ext cx="4106200" cy="337742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BB52669-DD45-3A20-9EC5-3FF9998F03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BC4B1E-A89A-E0A3-8E9D-FB297C738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904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0"/>
            <a:ext cx="8686801" cy="609600"/>
          </a:xfrm>
        </p:spPr>
        <p:txBody>
          <a:bodyPr/>
          <a:lstStyle/>
          <a:p>
            <a:pPr lvl="0" latinLnBrk="1"/>
            <a:r>
              <a:rPr lang="en-US" sz="4000" b="1" dirty="0"/>
              <a:t>DAMSA Path-Finder Expectation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40DF47-1039-08CF-2973-686F3483D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85800"/>
            <a:ext cx="8920945" cy="502920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A56638F-24C2-6608-CA7D-996DD9E5A127}"/>
              </a:ext>
            </a:extLst>
          </p:cNvPr>
          <p:cNvSpPr/>
          <p:nvPr/>
        </p:nvSpPr>
        <p:spPr bwMode="auto">
          <a:xfrm>
            <a:off x="6019801" y="2590800"/>
            <a:ext cx="2286000" cy="342405"/>
          </a:xfrm>
          <a:prstGeom prst="rect">
            <a:avLst/>
          </a:prstGeom>
          <a:solidFill>
            <a:srgbClr val="EFFFD2">
              <a:alpha val="0"/>
            </a:srgb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558F0A-8285-98AD-79BA-F43F469785F6}"/>
              </a:ext>
            </a:extLst>
          </p:cNvPr>
          <p:cNvSpPr txBox="1"/>
          <p:nvPr/>
        </p:nvSpPr>
        <p:spPr>
          <a:xfrm>
            <a:off x="1018678" y="5706187"/>
            <a:ext cx="728712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  <a:latin typeface="+mj-lt"/>
              </a:rPr>
              <a:t>Even w/ 10</a:t>
            </a:r>
            <a:r>
              <a:rPr lang="en-US" sz="2000" baseline="30000" dirty="0">
                <a:solidFill>
                  <a:srgbClr val="C00000"/>
                </a:solidFill>
                <a:latin typeface="+mj-lt"/>
              </a:rPr>
              <a:t>14</a:t>
            </a:r>
            <a:r>
              <a:rPr lang="en-US" sz="2000" dirty="0">
                <a:solidFill>
                  <a:srgbClr val="C00000"/>
                </a:solidFill>
                <a:latin typeface="+mj-lt"/>
              </a:rPr>
              <a:t> EOT could already help accessing the target parameter space!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F953FEA-6BB5-2E89-528F-CEC2956C3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6383A3-1564-45D4-16D5-E7C1E499C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311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599" y="0"/>
            <a:ext cx="8686801" cy="609600"/>
          </a:xfrm>
        </p:spPr>
        <p:txBody>
          <a:bodyPr/>
          <a:lstStyle/>
          <a:p>
            <a:pPr lvl="0" latinLnBrk="1"/>
            <a:r>
              <a:rPr lang="en-US" b="1" dirty="0"/>
              <a:t>Phase 1 Detector &amp; ECAL Geom.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09600"/>
            <a:ext cx="8763001" cy="2293513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Phase 1 </a:t>
            </a:r>
            <a:r>
              <a:rPr lang="en-US" dirty="0">
                <a:sym typeface="Wingdings" pitchFamily="2" charset="2"/>
              </a:rPr>
              <a:t> The a2</a:t>
            </a:r>
            <a:r>
              <a:rPr lang="en-US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dirty="0">
                <a:sym typeface="Wingdings" pitchFamily="2" charset="2"/>
              </a:rPr>
              <a:t> demonstrator @ LESA 8 GeV e</a:t>
            </a:r>
            <a:endParaRPr lang="en-US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Build a pathfinder with only W target, vacuum decay chamber and an ECAL + charged particle veto counters which occupy the same location and space as the tracker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ECAL baseline geometry to control the fast background occupancy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6" name="Picture 5" descr="A diagram of a vacuum chamber&#10;&#10;AI-generated content may be incorrect.">
            <a:extLst>
              <a:ext uri="{FF2B5EF4-FFF2-40B4-BE49-F238E27FC236}">
                <a16:creationId xmlns:a16="http://schemas.microsoft.com/office/drawing/2014/main" id="{01EB52DA-2165-0790-546F-3A4CDB78A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498" y="3165687"/>
            <a:ext cx="8763001" cy="363355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349A09D4-3118-9775-9BFE-01813D7FF201}"/>
              </a:ext>
            </a:extLst>
          </p:cNvPr>
          <p:cNvGrpSpPr/>
          <p:nvPr/>
        </p:nvGrpSpPr>
        <p:grpSpPr>
          <a:xfrm>
            <a:off x="800100" y="2043435"/>
            <a:ext cx="7772400" cy="4585965"/>
            <a:chOff x="870181" y="1578467"/>
            <a:chExt cx="7772400" cy="458596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1FB9D1C-AAF6-E225-A31A-482D45501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0181" y="1578467"/>
              <a:ext cx="7772400" cy="4585965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81E040F-635A-AABD-4374-D8DC4D8FE8ED}"/>
                </a:ext>
              </a:extLst>
            </p:cNvPr>
            <p:cNvSpPr txBox="1"/>
            <p:nvPr/>
          </p:nvSpPr>
          <p:spPr>
            <a:xfrm>
              <a:off x="2895600" y="3424535"/>
              <a:ext cx="43673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Potential Baseline ECAL Geometry</a:t>
              </a: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01B1E5A-D2D5-3A46-44A1-D5CB672289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39B67B-499C-741A-3843-59A1CBC06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788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-20595"/>
            <a:ext cx="8686800" cy="685800"/>
          </a:xfrm>
        </p:spPr>
        <p:txBody>
          <a:bodyPr/>
          <a:lstStyle/>
          <a:p>
            <a:r>
              <a:rPr lang="en-US" sz="4000" b="1" dirty="0"/>
              <a:t>DAMSA Sensitivity @SLAC 8GeV e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FD67CF-60EA-DCA1-4D9C-F0C4106447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10" name="Picture 9" descr="A diagram of a graph&#10;&#10;AI-generated content may be incorrect.">
            <a:extLst>
              <a:ext uri="{FF2B5EF4-FFF2-40B4-BE49-F238E27FC236}">
                <a16:creationId xmlns:a16="http://schemas.microsoft.com/office/drawing/2014/main" id="{CE5E64AB-0FE1-9DBD-D6C0-A1D153A6A9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679539"/>
            <a:ext cx="8839200" cy="602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055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599" y="76200"/>
            <a:ext cx="8686801" cy="609600"/>
          </a:xfrm>
        </p:spPr>
        <p:txBody>
          <a:bodyPr/>
          <a:lstStyle/>
          <a:p>
            <a:pPr lvl="0" latinLnBrk="1"/>
            <a:r>
              <a:rPr lang="en-US" b="1" dirty="0"/>
              <a:t>DAMSA – Phased Approach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09600"/>
            <a:ext cx="8763001" cy="2293513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Phase 0 </a:t>
            </a:r>
            <a:r>
              <a:rPr lang="en-US" sz="2800" dirty="0">
                <a:sym typeface="Wingdings" pitchFamily="2" charset="2"/>
              </a:rPr>
              <a:t> e-beam background validator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easure and validate the MC neutron and photon </a:t>
            </a:r>
            <a:r>
              <a:rPr lang="en-US" sz="2400" dirty="0" err="1"/>
              <a:t>bck</a:t>
            </a:r>
            <a:r>
              <a:rPr lang="en-US" sz="2400" dirty="0"/>
              <a:t> counts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Phase 1 </a:t>
            </a:r>
            <a:r>
              <a:rPr lang="en-US" sz="2800" dirty="0">
                <a:sym typeface="Wingdings" pitchFamily="2" charset="2"/>
              </a:rPr>
              <a:t> The a2</a:t>
            </a:r>
            <a:r>
              <a:rPr lang="en-US" sz="2800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sz="2800" dirty="0">
                <a:sym typeface="Wingdings" pitchFamily="2" charset="2"/>
              </a:rPr>
              <a:t> demonstrator @ LESA 8GeV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Build a path finder with only W target, vacuum decay chamber and an ECAL + charged particle veto counters which occupy the same location and space as the tracker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Phase 2 </a:t>
            </a:r>
            <a:r>
              <a:rPr lang="en-US" sz="2800" dirty="0">
                <a:sym typeface="Wingdings" pitchFamily="2" charset="2"/>
              </a:rPr>
              <a:t> The a2e demonstrator @ e-beam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>
                <a:sym typeface="Wingdings" pitchFamily="2" charset="2"/>
              </a:rPr>
              <a:t>Complete and insert the tracker and the magnet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>
                <a:sym typeface="Wingdings" pitchFamily="2" charset="2"/>
              </a:rPr>
              <a:t>Phase 3  The full scale DAMSA @ p-beams</a:t>
            </a:r>
            <a:endParaRPr lang="en-US" sz="28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E66856C-31F6-904A-9A37-B408A097987A}"/>
              </a:ext>
            </a:extLst>
          </p:cNvPr>
          <p:cNvGrpSpPr/>
          <p:nvPr/>
        </p:nvGrpSpPr>
        <p:grpSpPr>
          <a:xfrm>
            <a:off x="283535" y="2808033"/>
            <a:ext cx="8479465" cy="3384627"/>
            <a:chOff x="685799" y="3048000"/>
            <a:chExt cx="7798080" cy="3003627"/>
          </a:xfrm>
        </p:grpSpPr>
        <p:pic>
          <p:nvPicPr>
            <p:cNvPr id="3" name="Picture 2" descr="A diagram of a building&#10;&#10;Description automatically generated">
              <a:extLst>
                <a:ext uri="{FF2B5EF4-FFF2-40B4-BE49-F238E27FC236}">
                  <a16:creationId xmlns:a16="http://schemas.microsoft.com/office/drawing/2014/main" id="{4F3A3066-0362-D111-E32F-55ABF2609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799" y="3048000"/>
              <a:ext cx="7772400" cy="3003627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F1EB698-E8C9-990D-996B-459D8980BFC5}"/>
                </a:ext>
              </a:extLst>
            </p:cNvPr>
            <p:cNvSpPr txBox="1"/>
            <p:nvPr/>
          </p:nvSpPr>
          <p:spPr>
            <a:xfrm>
              <a:off x="4507279" y="3059286"/>
              <a:ext cx="3976600" cy="3550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40FF"/>
                  </a:solidFill>
                  <a:latin typeface="+mj-lt"/>
                </a:rPr>
                <a:t>DAMSA Path-Finder (DPF, Stages 0 and 1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94E17D-7356-EDF5-3168-AAF9DFA33E0C}"/>
              </a:ext>
            </a:extLst>
          </p:cNvPr>
          <p:cNvGrpSpPr/>
          <p:nvPr/>
        </p:nvGrpSpPr>
        <p:grpSpPr>
          <a:xfrm>
            <a:off x="250878" y="2779613"/>
            <a:ext cx="8534400" cy="3384627"/>
            <a:chOff x="1066800" y="3962400"/>
            <a:chExt cx="6934200" cy="2743200"/>
          </a:xfrm>
        </p:grpSpPr>
        <p:pic>
          <p:nvPicPr>
            <p:cNvPr id="12" name="Picture 11" descr="A diagram of a computer model&#10;&#10;Description automatically generated with medium confidence">
              <a:extLst>
                <a:ext uri="{FF2B5EF4-FFF2-40B4-BE49-F238E27FC236}">
                  <a16:creationId xmlns:a16="http://schemas.microsoft.com/office/drawing/2014/main" id="{4B975CD4-62EC-8945-DDCB-704CE397C3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800" y="3962400"/>
              <a:ext cx="6934200" cy="27432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8D2C271-1970-94B6-1BD4-69F2978CAE7A}"/>
                </a:ext>
              </a:extLst>
            </p:cNvPr>
            <p:cNvSpPr txBox="1"/>
            <p:nvPr/>
          </p:nvSpPr>
          <p:spPr>
            <a:xfrm>
              <a:off x="1143000" y="4009935"/>
              <a:ext cx="3517890" cy="3242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40FF"/>
                  </a:solidFill>
                  <a:latin typeface="+mj-lt"/>
                </a:rPr>
                <a:t>DAMSA Physics Expander (Phases 2 and 3)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29F813B3-9AD9-C7E4-8A49-319BFF256726}"/>
              </a:ext>
            </a:extLst>
          </p:cNvPr>
          <p:cNvSpPr/>
          <p:nvPr/>
        </p:nvSpPr>
        <p:spPr bwMode="auto">
          <a:xfrm>
            <a:off x="4114800" y="3505200"/>
            <a:ext cx="1347228" cy="1940278"/>
          </a:xfrm>
          <a:prstGeom prst="rect">
            <a:avLst/>
          </a:prstGeom>
          <a:solidFill>
            <a:srgbClr val="EFFFD2">
              <a:alpha val="36958"/>
            </a:srgb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44BA488-C674-B8EC-933F-6999FB7C791F}"/>
              </a:ext>
            </a:extLst>
          </p:cNvPr>
          <p:cNvGrpSpPr/>
          <p:nvPr/>
        </p:nvGrpSpPr>
        <p:grpSpPr>
          <a:xfrm>
            <a:off x="738791" y="3962402"/>
            <a:ext cx="7666416" cy="2819400"/>
            <a:chOff x="1066800" y="4209903"/>
            <a:chExt cx="6934200" cy="2743200"/>
          </a:xfrm>
        </p:grpSpPr>
        <p:pic>
          <p:nvPicPr>
            <p:cNvPr id="20" name="Picture 19" descr="A diagram of a computer model&#10;&#10;Description automatically generated with medium confidence">
              <a:extLst>
                <a:ext uri="{FF2B5EF4-FFF2-40B4-BE49-F238E27FC236}">
                  <a16:creationId xmlns:a16="http://schemas.microsoft.com/office/drawing/2014/main" id="{6B83184B-50A3-B064-6DEC-718EDB8F6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800" y="4209903"/>
              <a:ext cx="6934200" cy="274320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C618966-FF0B-91A6-0F54-86B831192621}"/>
                </a:ext>
              </a:extLst>
            </p:cNvPr>
            <p:cNvSpPr txBox="1"/>
            <p:nvPr/>
          </p:nvSpPr>
          <p:spPr>
            <a:xfrm>
              <a:off x="1143000" y="4265449"/>
              <a:ext cx="3916182" cy="3892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40FF"/>
                  </a:solidFill>
                  <a:latin typeface="+mj-lt"/>
                </a:rPr>
                <a:t>DAMSA Physics Expander (Phases 2 and 3)</a:t>
              </a: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221DBB-8A17-E802-9FA4-362434CE08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8693C5-C2B4-CCB6-2369-4D703702F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D71A27-B4BE-EF63-C671-344C8DBE5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099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35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14" grpId="0" animBg="1"/>
      <p:bldP spid="14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76200"/>
            <a:ext cx="89154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What is DAMSA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9529" y="609600"/>
            <a:ext cx="8762071" cy="54864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A very short baseline, </a:t>
            </a:r>
            <a:r>
              <a:rPr lang="en-US" b="1" u="sng" dirty="0">
                <a:solidFill>
                  <a:srgbClr val="FF0000"/>
                </a:solidFill>
              </a:rPr>
              <a:t>table-top scale </a:t>
            </a:r>
            <a:r>
              <a:rPr lang="en-US" dirty="0"/>
              <a:t>dark sector particle (DSP) search and </a:t>
            </a:r>
            <a:r>
              <a:rPr lang="en-US" b="1" u="sng" dirty="0">
                <a:solidFill>
                  <a:srgbClr val="FF0000"/>
                </a:solidFill>
              </a:rPr>
              <a:t>discovery</a:t>
            </a:r>
            <a:r>
              <a:rPr lang="en-US" dirty="0"/>
              <a:t> experiment at high intensity, yet capable beams</a:t>
            </a:r>
          </a:p>
          <a:p>
            <a:pPr>
              <a:lnSpc>
                <a:spcPct val="90000"/>
              </a:lnSpc>
            </a:pPr>
            <a:r>
              <a:rPr lang="en-US" dirty="0"/>
              <a:t>Stands for </a:t>
            </a:r>
            <a:r>
              <a:rPr lang="en-US" b="1" u="sng" dirty="0" err="1">
                <a:solidFill>
                  <a:srgbClr val="FF0000"/>
                </a:solidFill>
              </a:rPr>
              <a:t>DA</a:t>
            </a:r>
            <a:r>
              <a:rPr lang="en-US" dirty="0" err="1"/>
              <a:t>ark</a:t>
            </a:r>
            <a:r>
              <a:rPr lang="en-US" dirty="0"/>
              <a:t> </a:t>
            </a:r>
            <a:r>
              <a:rPr lang="en-US" b="1" u="sng" dirty="0">
                <a:solidFill>
                  <a:srgbClr val="FF0000"/>
                </a:solidFill>
              </a:rPr>
              <a:t>M</a:t>
            </a:r>
            <a:r>
              <a:rPr lang="en-US" dirty="0"/>
              <a:t>essenger </a:t>
            </a:r>
            <a:r>
              <a:rPr lang="en-US" b="1" u="sng" dirty="0">
                <a:solidFill>
                  <a:srgbClr val="FF0000"/>
                </a:solidFill>
              </a:rPr>
              <a:t>S</a:t>
            </a:r>
            <a:r>
              <a:rPr lang="en-US" dirty="0"/>
              <a:t>earches at an </a:t>
            </a:r>
            <a:r>
              <a:rPr lang="en-US" b="1" u="sng" dirty="0">
                <a:solidFill>
                  <a:srgbClr val="FF0000"/>
                </a:solidFill>
              </a:rPr>
              <a:t>A</a:t>
            </a:r>
            <a:r>
              <a:rPr lang="en-US" dirty="0"/>
              <a:t>ccelerator (DAMSA, pronounced da-am-</a:t>
            </a:r>
            <a:r>
              <a:rPr lang="en-US" dirty="0" err="1"/>
              <a:t>sa</a:t>
            </a:r>
            <a:r>
              <a:rPr lang="en-US" dirty="0"/>
              <a:t>)</a:t>
            </a:r>
          </a:p>
          <a:p>
            <a:pPr lvl="1">
              <a:lnSpc>
                <a:spcPct val="90000"/>
              </a:lnSpc>
            </a:pPr>
            <a:r>
              <a:rPr lang="ko-KR" altLang="en-US" sz="2400" dirty="0" err="1"/>
              <a:t>담사</a:t>
            </a:r>
            <a:r>
              <a:rPr lang="en-US" altLang="ko-KR" sz="2400" dirty="0"/>
              <a:t> (</a:t>
            </a:r>
            <a:r>
              <a:rPr lang="ja-JP" altLang="en-US" sz="2400"/>
              <a:t>潭思</a:t>
            </a:r>
            <a:r>
              <a:rPr lang="en-US" altLang="ko-KR" sz="2400" dirty="0"/>
              <a:t>) = </a:t>
            </a:r>
            <a:r>
              <a:rPr lang="ko-KR" altLang="en-US" sz="2400" dirty="0" err="1"/>
              <a:t>깊은생각</a:t>
            </a:r>
            <a:r>
              <a:rPr lang="ko-KR" altLang="en-US" sz="2400" dirty="0"/>
              <a:t> </a:t>
            </a:r>
            <a:r>
              <a:rPr lang="en-US" altLang="ko-KR" dirty="0"/>
              <a:t>– Rumination or Reflection</a:t>
            </a:r>
          </a:p>
          <a:p>
            <a:pPr lvl="2">
              <a:lnSpc>
                <a:spcPct val="90000"/>
              </a:lnSpc>
            </a:pPr>
            <a:r>
              <a:rPr lang="en-US" altLang="ko-KR" dirty="0">
                <a:hlinkClick r:id="rId3"/>
              </a:rPr>
              <a:t>J. Yu </a:t>
            </a:r>
            <a:r>
              <a:rPr lang="en-US" altLang="ko-KR" i="1" dirty="0">
                <a:hlinkClick r:id="rId3"/>
              </a:rPr>
              <a:t>et al</a:t>
            </a:r>
            <a:r>
              <a:rPr lang="en-US" altLang="ko-KR" dirty="0">
                <a:hlinkClick r:id="rId3"/>
              </a:rPr>
              <a:t>., PRD 107, L031901 (2023)</a:t>
            </a:r>
          </a:p>
          <a:p>
            <a:pPr lvl="2">
              <a:lnSpc>
                <a:spcPct val="90000"/>
              </a:lnSpc>
            </a:pPr>
            <a:r>
              <a:rPr lang="en-US" altLang="ko-KR" dirty="0">
                <a:hlinkClick r:id="rId4"/>
              </a:rPr>
              <a:t>Conceptual Design Report, arxiv:</a:t>
            </a:r>
            <a:r>
              <a:rPr lang="en-US" dirty="0">
                <a:sym typeface="Wingdings" pitchFamily="2" charset="2"/>
                <a:hlinkClick r:id="rId4"/>
              </a:rPr>
              <a:t> 2601.15255 (2026)</a:t>
            </a:r>
            <a:r>
              <a:rPr lang="en-US" altLang="ko-KR" dirty="0">
                <a:hlinkClick r:id="rId4"/>
              </a:rPr>
              <a:t>  </a:t>
            </a: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Goal is to discover a portal particle to the Dark Matter World at a particle accelerator and provide crucial data for the fundamental theory in a controlled environment </a:t>
            </a:r>
          </a:p>
          <a:p>
            <a:pPr>
              <a:lnSpc>
                <a:spcPct val="90000"/>
              </a:lnSpc>
            </a:pPr>
            <a:r>
              <a:rPr lang="en-US" dirty="0"/>
              <a:t>DAMSA can be at any </a:t>
            </a:r>
            <a:r>
              <a:rPr lang="en-US" dirty="0" err="1"/>
              <a:t>accl</a:t>
            </a:r>
            <a:r>
              <a:rPr lang="en-US" dirty="0"/>
              <a:t>. facility, including CER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064BA5-04E1-5988-FC38-2FC3B216D9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06CD8E-0B72-A034-42C6-51892DDE1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1176AA-2823-1B3E-F8BE-C3F8A0C8B7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340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b="1" dirty="0"/>
              <a:t>DAMSA@CERN BDF </a:t>
            </a:r>
            <a:r>
              <a:rPr lang="en-US" sz="3200" b="1" dirty="0"/>
              <a:t>(</a:t>
            </a:r>
            <a:r>
              <a:rPr lang="en-US" sz="3200" b="1" dirty="0">
                <a:hlinkClick r:id="rId3"/>
              </a:rPr>
              <a:t>2504.02923</a:t>
            </a:r>
            <a:r>
              <a:rPr lang="en-US" sz="3200" b="1" dirty="0"/>
              <a:t>)</a:t>
            </a:r>
            <a:endParaRPr lang="en-US" b="1" dirty="0"/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09600"/>
            <a:ext cx="8991601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 err="1">
                <a:sym typeface="Wingdings" pitchFamily="2" charset="2"/>
              </a:rPr>
              <a:t>SHiP</a:t>
            </a:r>
            <a:r>
              <a:rPr lang="en-US" sz="2800" dirty="0">
                <a:sym typeface="Wingdings" pitchFamily="2" charset="2"/>
              </a:rPr>
              <a:t> approved at CERN SPS ECN3 experimental area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Plan on completing the construction and begin experiment commissioning in 2032 with 1 year data taking in 2033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DAMSA can be placed in front of </a:t>
            </a:r>
            <a:r>
              <a:rPr lang="en-US" sz="2800" dirty="0" err="1">
                <a:sym typeface="Wingdings" pitchFamily="2" charset="2"/>
              </a:rPr>
              <a:t>SHiP</a:t>
            </a:r>
            <a:r>
              <a:rPr lang="en-US" sz="2800" dirty="0">
                <a:sym typeface="Wingdings" pitchFamily="2" charset="2"/>
              </a:rPr>
              <a:t>, behind the shield in 2032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5" name="Picture 4" descr="A drawing of a thermometer&#10;&#10;Description automatically generated">
            <a:extLst>
              <a:ext uri="{FF2B5EF4-FFF2-40B4-BE49-F238E27FC236}">
                <a16:creationId xmlns:a16="http://schemas.microsoft.com/office/drawing/2014/main" id="{7E3A37DF-3AC8-3CD4-91BC-6AF2291C35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2434841"/>
            <a:ext cx="8229600" cy="2365759"/>
          </a:xfrm>
          <a:prstGeom prst="rect">
            <a:avLst/>
          </a:prstGeom>
        </p:spPr>
      </p:pic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B31EE187-D1B1-22EB-FF5D-E323AFA617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800" y="4611189"/>
            <a:ext cx="8661400" cy="1733338"/>
          </a:xfrm>
          <a:prstGeom prst="rect">
            <a:avLst/>
          </a:prstGeom>
        </p:spPr>
      </p:pic>
      <p:sp>
        <p:nvSpPr>
          <p:cNvPr id="13" name="Rounded Rectangular Callout 12">
            <a:extLst>
              <a:ext uri="{FF2B5EF4-FFF2-40B4-BE49-F238E27FC236}">
                <a16:creationId xmlns:a16="http://schemas.microsoft.com/office/drawing/2014/main" id="{BB1CE3ED-CDCD-FF8D-1F9C-F1A98E04F785}"/>
              </a:ext>
            </a:extLst>
          </p:cNvPr>
          <p:cNvSpPr/>
          <p:nvPr/>
        </p:nvSpPr>
        <p:spPr bwMode="auto">
          <a:xfrm rot="5400000">
            <a:off x="3429000" y="1732673"/>
            <a:ext cx="5410200" cy="3372727"/>
          </a:xfrm>
          <a:prstGeom prst="wedgeRoundRectCallou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AF21AC3-4157-2AC8-274B-5429E00EF65B}"/>
              </a:ext>
            </a:extLst>
          </p:cNvPr>
          <p:cNvGrpSpPr/>
          <p:nvPr/>
        </p:nvGrpSpPr>
        <p:grpSpPr>
          <a:xfrm>
            <a:off x="4051301" y="1584789"/>
            <a:ext cx="4688790" cy="4358810"/>
            <a:chOff x="4508501" y="3300412"/>
            <a:chExt cx="4688790" cy="4358810"/>
          </a:xfrm>
        </p:grpSpPr>
        <p:pic>
          <p:nvPicPr>
            <p:cNvPr id="12" name="Picture 11" descr="A graph of a graph of a graph&#10;&#10;Description automatically generated with medium confidence">
              <a:extLst>
                <a:ext uri="{FF2B5EF4-FFF2-40B4-BE49-F238E27FC236}">
                  <a16:creationId xmlns:a16="http://schemas.microsoft.com/office/drawing/2014/main" id="{85C2C49E-A6E1-0BF6-F330-91018029774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08501" y="3300412"/>
              <a:ext cx="4508500" cy="4114800"/>
            </a:xfrm>
            <a:prstGeom prst="rect">
              <a:avLst/>
            </a:prstGeom>
            <a:ln w="38100">
              <a:noFill/>
            </a:ln>
          </p:spPr>
        </p:pic>
        <p:sp>
          <p:nvSpPr>
            <p:cNvPr id="14" name="Rounded Rectangular Callout 13">
              <a:extLst>
                <a:ext uri="{FF2B5EF4-FFF2-40B4-BE49-F238E27FC236}">
                  <a16:creationId xmlns:a16="http://schemas.microsoft.com/office/drawing/2014/main" id="{51FC7DFC-0FFB-7E3F-C05D-2D519F6BF191}"/>
                </a:ext>
              </a:extLst>
            </p:cNvPr>
            <p:cNvSpPr/>
            <p:nvPr/>
          </p:nvSpPr>
          <p:spPr bwMode="auto">
            <a:xfrm rot="5400000">
              <a:off x="4851278" y="3313210"/>
              <a:ext cx="4219135" cy="4472890"/>
            </a:xfrm>
            <a:prstGeom prst="wedgeRoundRectCallout">
              <a:avLst>
                <a:gd name="adj1" fmla="val -7373"/>
                <a:gd name="adj2" fmla="val 91740"/>
                <a:gd name="adj3" fmla="val 16667"/>
              </a:avLst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77D8CF50-E162-7311-1D5C-9C575671700D}"/>
              </a:ext>
            </a:extLst>
          </p:cNvPr>
          <p:cNvSpPr/>
          <p:nvPr/>
        </p:nvSpPr>
        <p:spPr bwMode="auto">
          <a:xfrm>
            <a:off x="5562600" y="3124200"/>
            <a:ext cx="914400" cy="762000"/>
          </a:xfrm>
          <a:prstGeom prst="ellipse">
            <a:avLst/>
          </a:prstGeom>
          <a:solidFill>
            <a:srgbClr val="EFFFD2">
              <a:alpha val="42000"/>
            </a:srgbClr>
          </a:solidFill>
          <a:ln w="57150" cap="flat" cmpd="sng" algn="ctr">
            <a:solidFill>
              <a:srgbClr val="FF4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B328C82E-D9F5-5C1D-1E08-BA6F945D7C8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91E738-8386-4226-3BB6-E7B5F19C2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ABF5893-4878-B62E-535C-1F715CABA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042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35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1" uiExpand="1" build="p"/>
      <p:bldP spid="1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</a:p>
        </p:txBody>
      </p:sp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>
          <a:xfrm>
            <a:off x="706395" y="0"/>
            <a:ext cx="8056605" cy="647700"/>
          </a:xfrm>
        </p:spPr>
        <p:txBody>
          <a:bodyPr/>
          <a:lstStyle/>
          <a:p>
            <a:pPr eaLnBrk="1" hangingPunct="1"/>
            <a:r>
              <a:rPr lang="en-US" b="1" dirty="0">
                <a:ea typeface="ＭＳ Ｐゴシック" pitchFamily="-84" charset="-128"/>
                <a:cs typeface="ＭＳ Ｐゴシック" pitchFamily="-84" charset="-128"/>
              </a:rPr>
              <a:t>Timelines for Some Beam Facilities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47700"/>
            <a:ext cx="8991600" cy="54483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Many accelerator facilities shut down through early 2030s</a:t>
            </a:r>
          </a:p>
          <a:p>
            <a:pPr lvl="1"/>
            <a:r>
              <a:rPr lang="en-US" sz="2400" dirty="0">
                <a:cs typeface="Arial Narrow"/>
              </a:rPr>
              <a:t>Fermilab accelerator complex will go into LBNF switch-over prep 2027</a:t>
            </a:r>
            <a:endParaRPr lang="en-US" sz="2000" dirty="0">
              <a:cs typeface="Arial Narrow"/>
            </a:endParaRPr>
          </a:p>
          <a:p>
            <a:pPr lvl="2"/>
            <a:r>
              <a:rPr lang="en-US" sz="2000" dirty="0">
                <a:cs typeface="Arial Narrow"/>
              </a:rPr>
              <a:t>LBNF beam to be ready in 2031</a:t>
            </a:r>
          </a:p>
          <a:p>
            <a:pPr lvl="2"/>
            <a:r>
              <a:rPr lang="en-US" sz="2000" dirty="0">
                <a:cs typeface="Arial Narrow"/>
              </a:rPr>
              <a:t>FAST 300MeV e-beam available through the shutdown period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CERN LHC High Lum upgrade prep</a:t>
            </a:r>
          </a:p>
          <a:p>
            <a:pPr lvl="2"/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LHC shutdown July 2026</a:t>
            </a:r>
          </a:p>
          <a:p>
            <a:pPr lvl="2"/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Beams return early 2030 for commissioning</a:t>
            </a:r>
          </a:p>
          <a:p>
            <a:pPr lvl="2"/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CERN PDF facility &amp; </a:t>
            </a:r>
            <a:r>
              <a:rPr lang="en-US" sz="2000" dirty="0" err="1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SHiP</a:t>
            </a:r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 to commission in ~2032 (experiment in 2033)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SK PAL’s new 10GeV e-beam facility potentially available in early 2030s</a:t>
            </a:r>
          </a:p>
          <a:p>
            <a:pPr lvl="2"/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But existing electron beams for light source will continue operating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J-PARC beam to return in 2028 with 1MW power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SLAC LCLS-II 8GeV upgrade: beam available in late 2027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Potential for DAMSA at 12GeV e beams at Jefferson Lab in discuss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7C795E-3DA8-A906-F310-C5BDCCB877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BAF754-509D-192C-2C97-FD671B4B5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363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16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950"/>
                            </p:stCondLst>
                            <p:childTnLst>
                              <p:par>
                                <p:cTn id="14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16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116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16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750"/>
                            </p:stCondLst>
                            <p:childTnLst>
                              <p:par>
                                <p:cTn id="28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116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400"/>
                            </p:stCondLst>
                            <p:childTnLst>
                              <p:par>
                                <p:cTn id="32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116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16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116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116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116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900"/>
                            </p:stCondLst>
                            <p:childTnLst>
                              <p:par>
                                <p:cTn id="55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116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850"/>
                            </p:stCondLst>
                            <p:childTnLst>
                              <p:par>
                                <p:cTn id="59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1161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619" grpId="1" uiExpand="1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104;p16">
            <a:extLst>
              <a:ext uri="{FF2B5EF4-FFF2-40B4-BE49-F238E27FC236}">
                <a16:creationId xmlns:a16="http://schemas.microsoft.com/office/drawing/2014/main" id="{19CA939F-94F3-179F-0F0B-02D78362DBF9}"/>
              </a:ext>
            </a:extLst>
          </p:cNvPr>
          <p:cNvCxnSpPr>
            <a:cxnSpLocks/>
          </p:cNvCxnSpPr>
          <p:nvPr/>
        </p:nvCxnSpPr>
        <p:spPr>
          <a:xfrm>
            <a:off x="6370899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94" name="Google Shape;94;p16"/>
          <p:cNvCxnSpPr>
            <a:cxnSpLocks/>
          </p:cNvCxnSpPr>
          <p:nvPr/>
        </p:nvCxnSpPr>
        <p:spPr>
          <a:xfrm>
            <a:off x="543109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95" name="Google Shape;95;p16"/>
          <p:cNvCxnSpPr>
            <a:cxnSpLocks/>
          </p:cNvCxnSpPr>
          <p:nvPr/>
        </p:nvCxnSpPr>
        <p:spPr>
          <a:xfrm>
            <a:off x="1708667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96" name="Google Shape;96;p16"/>
          <p:cNvSpPr txBox="1"/>
          <p:nvPr/>
        </p:nvSpPr>
        <p:spPr>
          <a:xfrm>
            <a:off x="228600" y="5871186"/>
            <a:ext cx="665107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>
                <a:latin typeface="+mj-lt"/>
              </a:rPr>
              <a:t>Yr 0 2026</a:t>
            </a:r>
            <a:endParaRPr sz="2000" b="1" dirty="0">
              <a:latin typeface="+mj-lt"/>
            </a:endParaRPr>
          </a:p>
        </p:txBody>
      </p:sp>
      <p:sp>
        <p:nvSpPr>
          <p:cNvPr id="97" name="Google Shape;97;p16"/>
          <p:cNvSpPr txBox="1"/>
          <p:nvPr/>
        </p:nvSpPr>
        <p:spPr>
          <a:xfrm>
            <a:off x="1385868" y="5871186"/>
            <a:ext cx="665107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>
                <a:latin typeface="+mj-lt"/>
              </a:rPr>
              <a:t>Yr 1 2027 </a:t>
            </a:r>
            <a:endParaRPr sz="2000" b="1" dirty="0">
              <a:latin typeface="+mj-lt"/>
            </a:endParaRPr>
          </a:p>
        </p:txBody>
      </p:sp>
      <p:cxnSp>
        <p:nvCxnSpPr>
          <p:cNvPr id="98" name="Google Shape;98;p16"/>
          <p:cNvCxnSpPr>
            <a:cxnSpLocks/>
          </p:cNvCxnSpPr>
          <p:nvPr/>
        </p:nvCxnSpPr>
        <p:spPr>
          <a:xfrm>
            <a:off x="2874225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0" name="Google Shape;100;p16"/>
          <p:cNvCxnSpPr>
            <a:cxnSpLocks/>
          </p:cNvCxnSpPr>
          <p:nvPr/>
        </p:nvCxnSpPr>
        <p:spPr>
          <a:xfrm>
            <a:off x="4039783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2" name="Google Shape;102;p16"/>
          <p:cNvCxnSpPr>
            <a:cxnSpLocks/>
          </p:cNvCxnSpPr>
          <p:nvPr/>
        </p:nvCxnSpPr>
        <p:spPr>
          <a:xfrm>
            <a:off x="5205341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4" name="Google Shape;104;p16"/>
          <p:cNvCxnSpPr>
            <a:cxnSpLocks/>
          </p:cNvCxnSpPr>
          <p:nvPr/>
        </p:nvCxnSpPr>
        <p:spPr>
          <a:xfrm>
            <a:off x="8702016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105" name="Google Shape;105;p16"/>
          <p:cNvSpPr txBox="1"/>
          <p:nvPr/>
        </p:nvSpPr>
        <p:spPr>
          <a:xfrm>
            <a:off x="8386203" y="5871186"/>
            <a:ext cx="660904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>
                <a:latin typeface="+mj-lt"/>
              </a:rPr>
              <a:t>Yr 7 2033</a:t>
            </a:r>
            <a:endParaRPr sz="2000" b="1" dirty="0">
              <a:latin typeface="+mj-lt"/>
            </a:endParaRPr>
          </a:p>
        </p:txBody>
      </p:sp>
      <p:sp>
        <p:nvSpPr>
          <p:cNvPr id="108" name="Google Shape;108;p16"/>
          <p:cNvSpPr/>
          <p:nvPr/>
        </p:nvSpPr>
        <p:spPr>
          <a:xfrm>
            <a:off x="1524000" y="76200"/>
            <a:ext cx="6133820" cy="533400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4000" b="1" dirty="0">
                <a:solidFill>
                  <a:srgbClr val="C00000"/>
                </a:solidFill>
                <a:latin typeface="+mj-lt"/>
              </a:rPr>
              <a:t>Staged DAMSA Timeline</a:t>
            </a:r>
            <a:endParaRPr sz="40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09" name="Google Shape;109;p16"/>
          <p:cNvSpPr/>
          <p:nvPr/>
        </p:nvSpPr>
        <p:spPr>
          <a:xfrm>
            <a:off x="537955" y="685800"/>
            <a:ext cx="2111221" cy="1249054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00FFFF"/>
              </a:gs>
              <a:gs pos="30000">
                <a:srgbClr val="215ABC"/>
              </a:gs>
              <a:gs pos="25000">
                <a:srgbClr val="194CA3"/>
              </a:gs>
              <a:gs pos="57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400" b="1" dirty="0">
                <a:solidFill>
                  <a:srgbClr val="FFFFFF"/>
                </a:solidFill>
                <a:latin typeface="+mj-lt"/>
              </a:rPr>
              <a:t>Stage 0 @ FNAL FAST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400" b="1" dirty="0">
                <a:solidFill>
                  <a:srgbClr val="FFFFFF"/>
                </a:solidFill>
                <a:latin typeface="+mj-lt"/>
              </a:rPr>
              <a:t>Det. R&amp;D and </a:t>
            </a:r>
            <a:r>
              <a:rPr lang="en" sz="1400" b="1" dirty="0" err="1">
                <a:solidFill>
                  <a:srgbClr val="FFFFFF"/>
                </a:solidFill>
                <a:latin typeface="+mj-lt"/>
              </a:rPr>
              <a:t>Bck</a:t>
            </a:r>
            <a:r>
              <a:rPr lang="en" sz="1400" b="1" dirty="0">
                <a:solidFill>
                  <a:srgbClr val="FFFFFF"/>
                </a:solidFill>
                <a:latin typeface="+mj-lt"/>
              </a:rPr>
              <a:t> Validation</a:t>
            </a:r>
            <a:endParaRPr sz="1400" b="1" dirty="0">
              <a:latin typeface="+mj-lt"/>
            </a:endParaRPr>
          </a:p>
        </p:txBody>
      </p:sp>
      <p:sp>
        <p:nvSpPr>
          <p:cNvPr id="110" name="Google Shape;110;p16"/>
          <p:cNvSpPr/>
          <p:nvPr/>
        </p:nvSpPr>
        <p:spPr>
          <a:xfrm>
            <a:off x="2256299" y="1932814"/>
            <a:ext cx="2752208" cy="1312889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FFFF00"/>
              </a:gs>
              <a:gs pos="21000">
                <a:srgbClr val="BF9000"/>
              </a:gs>
              <a:gs pos="89000">
                <a:srgbClr val="7F6000"/>
              </a:gs>
              <a:gs pos="59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FFFFFF"/>
                </a:solidFill>
                <a:latin typeface="+mj-lt"/>
              </a:rPr>
              <a:t>Stage 1 – </a:t>
            </a:r>
            <a:r>
              <a:rPr lang="en-US" sz="1600" b="1" dirty="0" err="1">
                <a:solidFill>
                  <a:srgbClr val="FFFFFF"/>
                </a:solidFill>
                <a:latin typeface="+mj-lt"/>
              </a:rPr>
              <a:t>ALP</a:t>
            </a:r>
            <a:r>
              <a:rPr lang="en-US" sz="1600" b="1" dirty="0" err="1">
                <a:solidFill>
                  <a:srgbClr val="FFFFFF"/>
                </a:solidFill>
                <a:latin typeface="+mj-lt"/>
                <a:sym typeface="Wingdings" pitchFamily="2" charset="2"/>
              </a:rPr>
              <a:t></a:t>
            </a:r>
            <a:r>
              <a:rPr lang="en-US" sz="1600" b="1" dirty="0" err="1">
                <a:solidFill>
                  <a:srgbClr val="FFFFFF"/>
                </a:solidFill>
                <a:latin typeface="Symbol" pitchFamily="2" charset="2"/>
                <a:sym typeface="Wingdings" pitchFamily="2" charset="2"/>
              </a:rPr>
              <a:t>g</a:t>
            </a:r>
            <a:r>
              <a:rPr lang="en-US" sz="1600" b="1" dirty="0">
                <a:solidFill>
                  <a:srgbClr val="FFFFFF"/>
                </a:solidFill>
                <a:latin typeface="Symbol" pitchFamily="2" charset="2"/>
                <a:sym typeface="Wingdings" pitchFamily="2" charset="2"/>
              </a:rPr>
              <a:t> g</a:t>
            </a:r>
            <a:r>
              <a:rPr lang="en-US" sz="16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8GeV e beams @ SLAC LESA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w/o Si Tracking System</a:t>
            </a:r>
            <a:endParaRPr sz="1400" b="1" dirty="0">
              <a:latin typeface="+mj-lt"/>
            </a:endParaRPr>
          </a:p>
        </p:txBody>
      </p:sp>
      <p:sp>
        <p:nvSpPr>
          <p:cNvPr id="29" name="Google Shape;97;p16">
            <a:extLst>
              <a:ext uri="{FF2B5EF4-FFF2-40B4-BE49-F238E27FC236}">
                <a16:creationId xmlns:a16="http://schemas.microsoft.com/office/drawing/2014/main" id="{CB9A7D3C-1957-3643-BB66-EBADF0F5724E}"/>
              </a:ext>
            </a:extLst>
          </p:cNvPr>
          <p:cNvSpPr txBox="1"/>
          <p:nvPr/>
        </p:nvSpPr>
        <p:spPr>
          <a:xfrm>
            <a:off x="2543136" y="5871186"/>
            <a:ext cx="673981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>
                <a:latin typeface="+mj-lt"/>
              </a:rPr>
              <a:t>Yr 2 2028 </a:t>
            </a:r>
            <a:endParaRPr sz="2000" b="1" dirty="0">
              <a:latin typeface="+mj-lt"/>
            </a:endParaRPr>
          </a:p>
        </p:txBody>
      </p:sp>
      <p:sp>
        <p:nvSpPr>
          <p:cNvPr id="30" name="Google Shape;97;p16">
            <a:extLst>
              <a:ext uri="{FF2B5EF4-FFF2-40B4-BE49-F238E27FC236}">
                <a16:creationId xmlns:a16="http://schemas.microsoft.com/office/drawing/2014/main" id="{4E22D1F0-7EAD-2841-87AB-B7EB8D5EF589}"/>
              </a:ext>
            </a:extLst>
          </p:cNvPr>
          <p:cNvSpPr txBox="1"/>
          <p:nvPr/>
        </p:nvSpPr>
        <p:spPr>
          <a:xfrm>
            <a:off x="3709278" y="5871186"/>
            <a:ext cx="682458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>
                <a:latin typeface="+mj-lt"/>
              </a:rPr>
              <a:t>Yr 3 2029 </a:t>
            </a:r>
            <a:endParaRPr sz="2000" b="1" dirty="0">
              <a:latin typeface="+mj-lt"/>
            </a:endParaRPr>
          </a:p>
        </p:txBody>
      </p:sp>
      <p:sp>
        <p:nvSpPr>
          <p:cNvPr id="31" name="Google Shape;97;p16">
            <a:extLst>
              <a:ext uri="{FF2B5EF4-FFF2-40B4-BE49-F238E27FC236}">
                <a16:creationId xmlns:a16="http://schemas.microsoft.com/office/drawing/2014/main" id="{ADBE1AC9-DB97-3248-AE48-16AE41A11C11}"/>
              </a:ext>
            </a:extLst>
          </p:cNvPr>
          <p:cNvSpPr txBox="1"/>
          <p:nvPr/>
        </p:nvSpPr>
        <p:spPr>
          <a:xfrm>
            <a:off x="4883897" y="5871186"/>
            <a:ext cx="682458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>
                <a:latin typeface="+mj-lt"/>
              </a:rPr>
              <a:t>Yr 4 2030 </a:t>
            </a:r>
            <a:endParaRPr sz="2000" b="1" dirty="0">
              <a:latin typeface="+mj-lt"/>
            </a:endParaRPr>
          </a:p>
        </p:txBody>
      </p:sp>
      <p:cxnSp>
        <p:nvCxnSpPr>
          <p:cNvPr id="4" name="Google Shape;104;p16">
            <a:extLst>
              <a:ext uri="{FF2B5EF4-FFF2-40B4-BE49-F238E27FC236}">
                <a16:creationId xmlns:a16="http://schemas.microsoft.com/office/drawing/2014/main" id="{5F33A558-9BF8-53E0-9A24-01BD9806B179}"/>
              </a:ext>
            </a:extLst>
          </p:cNvPr>
          <p:cNvCxnSpPr>
            <a:cxnSpLocks/>
          </p:cNvCxnSpPr>
          <p:nvPr/>
        </p:nvCxnSpPr>
        <p:spPr>
          <a:xfrm>
            <a:off x="7536457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5" name="Google Shape;105;p16">
            <a:extLst>
              <a:ext uri="{FF2B5EF4-FFF2-40B4-BE49-F238E27FC236}">
                <a16:creationId xmlns:a16="http://schemas.microsoft.com/office/drawing/2014/main" id="{49578F5D-DBFB-3150-BB65-94BE4CFB0DF2}"/>
              </a:ext>
            </a:extLst>
          </p:cNvPr>
          <p:cNvSpPr txBox="1"/>
          <p:nvPr/>
        </p:nvSpPr>
        <p:spPr>
          <a:xfrm>
            <a:off x="7233134" y="5871186"/>
            <a:ext cx="660910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>
                <a:latin typeface="+mj-lt"/>
              </a:rPr>
              <a:t>Yr 6 2032</a:t>
            </a:r>
            <a:endParaRPr sz="2000" b="1" dirty="0">
              <a:latin typeface="+mj-lt"/>
            </a:endParaRPr>
          </a:p>
        </p:txBody>
      </p:sp>
      <p:sp>
        <p:nvSpPr>
          <p:cNvPr id="6" name="Google Shape;105;p16">
            <a:extLst>
              <a:ext uri="{FF2B5EF4-FFF2-40B4-BE49-F238E27FC236}">
                <a16:creationId xmlns:a16="http://schemas.microsoft.com/office/drawing/2014/main" id="{9A068D04-E553-1AEB-2E5C-E8B05486E418}"/>
              </a:ext>
            </a:extLst>
          </p:cNvPr>
          <p:cNvSpPr txBox="1"/>
          <p:nvPr/>
        </p:nvSpPr>
        <p:spPr>
          <a:xfrm>
            <a:off x="6058516" y="5871186"/>
            <a:ext cx="682457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>
                <a:latin typeface="+mj-lt"/>
              </a:rPr>
              <a:t>Yr 5 2031</a:t>
            </a:r>
            <a:endParaRPr sz="2000" b="1" dirty="0">
              <a:latin typeface="+mj-lt"/>
            </a:endParaRPr>
          </a:p>
        </p:txBody>
      </p:sp>
      <p:sp>
        <p:nvSpPr>
          <p:cNvPr id="2" name="Google Shape;110;p16">
            <a:extLst>
              <a:ext uri="{FF2B5EF4-FFF2-40B4-BE49-F238E27FC236}">
                <a16:creationId xmlns:a16="http://schemas.microsoft.com/office/drawing/2014/main" id="{EAF8FCA3-29D6-7F22-36B4-4116B5018B56}"/>
              </a:ext>
            </a:extLst>
          </p:cNvPr>
          <p:cNvSpPr/>
          <p:nvPr/>
        </p:nvSpPr>
        <p:spPr>
          <a:xfrm>
            <a:off x="4183362" y="3167463"/>
            <a:ext cx="2557612" cy="1312889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FFFF00"/>
              </a:gs>
              <a:gs pos="21000">
                <a:srgbClr val="BF9000"/>
              </a:gs>
              <a:gs pos="89000">
                <a:srgbClr val="7F6000"/>
              </a:gs>
              <a:gs pos="59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FFFFFF"/>
                </a:solidFill>
                <a:latin typeface="+mj-lt"/>
              </a:rPr>
              <a:t>Stage 2 – </a:t>
            </a:r>
            <a:r>
              <a:rPr lang="en-US" sz="1600" b="1" dirty="0" err="1">
                <a:solidFill>
                  <a:srgbClr val="FFFFFF"/>
                </a:solidFill>
                <a:latin typeface="+mj-lt"/>
              </a:rPr>
              <a:t>ALP</a:t>
            </a:r>
            <a:r>
              <a:rPr lang="en-US" sz="1600" b="1" dirty="0" err="1">
                <a:solidFill>
                  <a:srgbClr val="FFFFFF"/>
                </a:solidFill>
                <a:latin typeface="+mj-lt"/>
                <a:sym typeface="Wingdings" pitchFamily="2" charset="2"/>
              </a:rPr>
              <a:t></a:t>
            </a:r>
            <a:r>
              <a:rPr lang="en-US" sz="1600" b="1" dirty="0" err="1">
                <a:solidFill>
                  <a:srgbClr val="FFFFFF"/>
                </a:solidFill>
                <a:latin typeface="Symbol" pitchFamily="2" charset="2"/>
                <a:sym typeface="Wingdings" pitchFamily="2" charset="2"/>
              </a:rPr>
              <a:t>g</a:t>
            </a:r>
            <a:r>
              <a:rPr lang="en-US" sz="1600" b="1" dirty="0">
                <a:solidFill>
                  <a:srgbClr val="FFFFFF"/>
                </a:solidFill>
                <a:latin typeface="Symbol" pitchFamily="2" charset="2"/>
                <a:sym typeface="Wingdings" pitchFamily="2" charset="2"/>
              </a:rPr>
              <a:t> g</a:t>
            </a:r>
            <a:r>
              <a:rPr lang="en-US" sz="16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 </a:t>
            </a:r>
            <a:r>
              <a:rPr lang="en-US" sz="14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+ </a:t>
            </a:r>
            <a:r>
              <a:rPr lang="en-US" sz="1400" b="1" dirty="0" err="1">
                <a:solidFill>
                  <a:srgbClr val="FFFFFF"/>
                </a:solidFill>
                <a:latin typeface="+mj-lt"/>
                <a:sym typeface="Wingdings" pitchFamily="2" charset="2"/>
              </a:rPr>
              <a:t>e</a:t>
            </a:r>
            <a:r>
              <a:rPr lang="en-US" sz="1400" b="1" baseline="30000" dirty="0" err="1">
                <a:solidFill>
                  <a:srgbClr val="FFFFFF"/>
                </a:solidFill>
                <a:latin typeface="+mj-lt"/>
                <a:sym typeface="Wingdings" pitchFamily="2" charset="2"/>
              </a:rPr>
              <a:t>+</a:t>
            </a:r>
            <a:r>
              <a:rPr lang="en-US" sz="1400" b="1" dirty="0" err="1">
                <a:solidFill>
                  <a:srgbClr val="FFFFFF"/>
                </a:solidFill>
                <a:latin typeface="+mj-lt"/>
                <a:sym typeface="Wingdings" pitchFamily="2" charset="2"/>
              </a:rPr>
              <a:t>e</a:t>
            </a:r>
            <a:r>
              <a:rPr lang="en-US" sz="1400" b="1" baseline="30000" dirty="0">
                <a:solidFill>
                  <a:srgbClr val="FFFFFF"/>
                </a:solidFill>
                <a:latin typeface="+mj-lt"/>
                <a:sym typeface="Wingdings" pitchFamily="2" charset="2"/>
              </a:rPr>
              <a:t>-</a:t>
            </a:r>
            <a:r>
              <a:rPr lang="en-US" sz="14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8GeV e beams @ SLAC LESA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Si Tracking System + Magnet</a:t>
            </a:r>
            <a:endParaRPr sz="1400" b="1" dirty="0">
              <a:latin typeface="+mj-lt"/>
            </a:endParaRPr>
          </a:p>
        </p:txBody>
      </p:sp>
      <p:sp>
        <p:nvSpPr>
          <p:cNvPr id="8" name="Google Shape;110;p16">
            <a:extLst>
              <a:ext uri="{FF2B5EF4-FFF2-40B4-BE49-F238E27FC236}">
                <a16:creationId xmlns:a16="http://schemas.microsoft.com/office/drawing/2014/main" id="{03B23EFD-F6C8-1F8F-5AEA-C56E4F752D14}"/>
              </a:ext>
            </a:extLst>
          </p:cNvPr>
          <p:cNvSpPr/>
          <p:nvPr/>
        </p:nvSpPr>
        <p:spPr>
          <a:xfrm>
            <a:off x="6151512" y="4402111"/>
            <a:ext cx="2808511" cy="1312889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FFFF00"/>
              </a:gs>
              <a:gs pos="21000">
                <a:srgbClr val="BF9000"/>
              </a:gs>
              <a:gs pos="89000">
                <a:srgbClr val="7F6000"/>
              </a:gs>
              <a:gs pos="59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+mj-lt"/>
              </a:rPr>
              <a:t>Stage 3 – </a:t>
            </a:r>
            <a:r>
              <a:rPr lang="en-US" sz="1400" b="1" dirty="0" err="1">
                <a:solidFill>
                  <a:srgbClr val="FFFFFF"/>
                </a:solidFill>
                <a:latin typeface="+mj-lt"/>
              </a:rPr>
              <a:t>ALP</a:t>
            </a:r>
            <a:r>
              <a:rPr lang="en-US" sz="1400" b="1" dirty="0" err="1">
                <a:solidFill>
                  <a:srgbClr val="FFFFFF"/>
                </a:solidFill>
                <a:latin typeface="+mj-lt"/>
                <a:sym typeface="Wingdings" pitchFamily="2" charset="2"/>
              </a:rPr>
              <a:t></a:t>
            </a:r>
            <a:r>
              <a:rPr lang="en-US" sz="1400" b="1" dirty="0" err="1">
                <a:solidFill>
                  <a:srgbClr val="FFFFFF"/>
                </a:solidFill>
                <a:latin typeface="Symbol" pitchFamily="2" charset="2"/>
                <a:sym typeface="Wingdings" pitchFamily="2" charset="2"/>
              </a:rPr>
              <a:t>g</a:t>
            </a:r>
            <a:r>
              <a:rPr lang="en-US" sz="1400" b="1" dirty="0">
                <a:solidFill>
                  <a:srgbClr val="FFFFFF"/>
                </a:solidFill>
                <a:latin typeface="Symbol" pitchFamily="2" charset="2"/>
                <a:sym typeface="Wingdings" pitchFamily="2" charset="2"/>
              </a:rPr>
              <a:t> g</a:t>
            </a:r>
            <a:r>
              <a:rPr lang="en-US" sz="14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 </a:t>
            </a:r>
            <a:r>
              <a:rPr lang="en-US" sz="12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+ ee </a:t>
            </a:r>
            <a:r>
              <a:rPr lang="en-US" sz="1200" b="1" dirty="0">
                <a:solidFill>
                  <a:srgbClr val="FFFFFF"/>
                </a:solidFill>
                <a:latin typeface="Symbol" pitchFamily="2" charset="2"/>
                <a:sym typeface="Wingdings" pitchFamily="2" charset="2"/>
              </a:rPr>
              <a:t>+ mm</a:t>
            </a:r>
            <a:r>
              <a:rPr lang="en-US" sz="12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400GeV p beams @ CERN BDF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  <a:latin typeface="+mj-lt"/>
                <a:sym typeface="Wingdings" pitchFamily="2" charset="2"/>
              </a:rPr>
              <a:t>Stage 2 + </a:t>
            </a:r>
            <a:r>
              <a:rPr lang="en-US" sz="1200" b="1">
                <a:solidFill>
                  <a:srgbClr val="FFFFFF"/>
                </a:solidFill>
                <a:latin typeface="+mj-lt"/>
                <a:sym typeface="Wingdings" pitchFamily="2" charset="2"/>
              </a:rPr>
              <a:t>muon tagging system</a:t>
            </a:r>
            <a:endParaRPr sz="1200" b="1" dirty="0">
              <a:latin typeface="+mj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5CDD196-26A7-4F45-ABCF-52E7F34207C2}"/>
              </a:ext>
            </a:extLst>
          </p:cNvPr>
          <p:cNvGrpSpPr/>
          <p:nvPr/>
        </p:nvGrpSpPr>
        <p:grpSpPr>
          <a:xfrm>
            <a:off x="2133602" y="1883629"/>
            <a:ext cx="4834914" cy="2691817"/>
            <a:chOff x="2133602" y="1807429"/>
            <a:chExt cx="4834914" cy="28291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86F3D6A-0D82-EA02-3BDE-CC29D37DBF2F}"/>
                </a:ext>
              </a:extLst>
            </p:cNvPr>
            <p:cNvSpPr/>
            <p:nvPr/>
          </p:nvSpPr>
          <p:spPr bwMode="auto">
            <a:xfrm>
              <a:off x="2133602" y="1807429"/>
              <a:ext cx="4834914" cy="2829108"/>
            </a:xfrm>
            <a:prstGeom prst="rect">
              <a:avLst/>
            </a:prstGeom>
            <a:solidFill>
              <a:srgbClr val="EFFFD2">
                <a:alpha val="36958"/>
              </a:srgbClr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6A4365F-B137-8EB5-E6F6-AA1B2136D2F2}"/>
                </a:ext>
              </a:extLst>
            </p:cNvPr>
            <p:cNvSpPr txBox="1"/>
            <p:nvPr/>
          </p:nvSpPr>
          <p:spPr>
            <a:xfrm>
              <a:off x="5334000" y="1828800"/>
              <a:ext cx="1574470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  <a:latin typeface="+mj-lt"/>
                </a:rPr>
                <a:t>SLAC-LESA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247F585-5CE4-960D-046A-219C51C232D2}"/>
              </a:ext>
            </a:extLst>
          </p:cNvPr>
          <p:cNvGrpSpPr/>
          <p:nvPr/>
        </p:nvGrpSpPr>
        <p:grpSpPr>
          <a:xfrm>
            <a:off x="157960" y="674137"/>
            <a:ext cx="3623803" cy="1230863"/>
            <a:chOff x="2133602" y="1807429"/>
            <a:chExt cx="4834914" cy="282910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4C79082-0483-9D71-2D82-44A128B3A625}"/>
                </a:ext>
              </a:extLst>
            </p:cNvPr>
            <p:cNvSpPr/>
            <p:nvPr/>
          </p:nvSpPr>
          <p:spPr bwMode="auto">
            <a:xfrm>
              <a:off x="2133602" y="1807429"/>
              <a:ext cx="4834914" cy="2829108"/>
            </a:xfrm>
            <a:prstGeom prst="rect">
              <a:avLst/>
            </a:prstGeom>
            <a:solidFill>
              <a:srgbClr val="EFFFD2">
                <a:alpha val="36958"/>
              </a:srgbClr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70CBEAC-DF93-10D2-5D6A-E135E5AB106C}"/>
                </a:ext>
              </a:extLst>
            </p:cNvPr>
            <p:cNvSpPr txBox="1"/>
            <p:nvPr/>
          </p:nvSpPr>
          <p:spPr>
            <a:xfrm>
              <a:off x="5054933" y="1828800"/>
              <a:ext cx="1544590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  <a:latin typeface="+mj-lt"/>
                </a:rPr>
                <a:t>FNAL-FAST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E3A4E79-2D99-DB80-918C-182D0FBCE7EC}"/>
              </a:ext>
            </a:extLst>
          </p:cNvPr>
          <p:cNvGrpSpPr/>
          <p:nvPr/>
        </p:nvGrpSpPr>
        <p:grpSpPr>
          <a:xfrm>
            <a:off x="5638800" y="4373351"/>
            <a:ext cx="3382327" cy="1417849"/>
            <a:chOff x="2133602" y="1807429"/>
            <a:chExt cx="4834914" cy="282910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0CF585A-35F9-7359-7AB5-70E71EB396F5}"/>
                </a:ext>
              </a:extLst>
            </p:cNvPr>
            <p:cNvSpPr/>
            <p:nvPr/>
          </p:nvSpPr>
          <p:spPr bwMode="auto">
            <a:xfrm>
              <a:off x="2133602" y="1807429"/>
              <a:ext cx="4834914" cy="2829108"/>
            </a:xfrm>
            <a:prstGeom prst="rect">
              <a:avLst/>
            </a:prstGeom>
            <a:solidFill>
              <a:srgbClr val="EFFFD2">
                <a:alpha val="36958"/>
              </a:srgbClr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B08825B-6775-E596-40CD-80CE5611A085}"/>
                </a:ext>
              </a:extLst>
            </p:cNvPr>
            <p:cNvSpPr txBox="1"/>
            <p:nvPr/>
          </p:nvSpPr>
          <p:spPr>
            <a:xfrm>
              <a:off x="2605788" y="3664868"/>
              <a:ext cx="2129201" cy="92118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  <a:latin typeface="+mj-lt"/>
                </a:rPr>
                <a:t>CERN-BD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5568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110" grpId="0" animBg="1"/>
      <p:bldP spid="2" grpId="0" animBg="1"/>
      <p:bldP spid="8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198" y="0"/>
            <a:ext cx="8991601" cy="609600"/>
          </a:xfrm>
        </p:spPr>
        <p:txBody>
          <a:bodyPr>
            <a:normAutofit fontScale="90000"/>
          </a:bodyPr>
          <a:lstStyle/>
          <a:p>
            <a:pPr lvl="0" latinLnBrk="1"/>
            <a:r>
              <a:rPr lang="en-US" b="1" dirty="0"/>
              <a:t>Where is the DAMSA experiment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399" y="533400"/>
            <a:ext cx="8839201" cy="55626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DAMSA has been introduced to the community in the past &gt;4 years, more intensely since 2023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Multiple presentations made at conferences, workshops and seminars in the U.S., SK, EU and CERN since 2023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US funding agencies and facilities (FNAL, SLAC, PAL &amp; CERN) informed</a:t>
            </a:r>
          </a:p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AMSA Proto-collaboration established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Lead Investigators: </a:t>
            </a:r>
            <a:r>
              <a:rPr lang="en-US" dirty="0" err="1">
                <a:sym typeface="Wingdings" pitchFamily="2" charset="2"/>
              </a:rPr>
              <a:t>J.Yu</a:t>
            </a:r>
            <a:r>
              <a:rPr lang="en-US" dirty="0">
                <a:sym typeface="Wingdings" pitchFamily="2" charset="2"/>
              </a:rPr>
              <a:t> (UTA), J. Estrada (BNL), UK Yang (SNU)</a:t>
            </a:r>
          </a:p>
          <a:p>
            <a:pPr lvl="2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14 US + 11 SK institutions on DAMSA (still have room for more)</a:t>
            </a:r>
          </a:p>
          <a:p>
            <a:pPr lvl="2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A healthy mixture of theorists and experimentalist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Funding applications being submitted (some success in SK)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Collaborators work on crystal characterization &amp; ECAL R&amp;D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87C9FB-226F-2B2A-7C51-1D070C8BF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87A68F-FF59-4BA2-6C09-086625E994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DFF5E-A9C8-A6B3-918B-EC1687587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346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9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6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5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25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5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/>
              <a:t>Conclusions</a:t>
            </a:r>
            <a:endParaRPr lang="en-US" sz="4800" b="1" dirty="0"/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533400"/>
            <a:ext cx="8801103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is a table-top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.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has been making steady and serious progress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Aim to take data before the end of this decade, before DUNE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First neutron background validation measurement performed!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Conceptual Design Report release to archive (</a:t>
            </a:r>
            <a:r>
              <a:rPr lang="en-US" sz="2600" dirty="0">
                <a:sym typeface="Wingdings" pitchFamily="2" charset="2"/>
                <a:hlinkClick r:id="rId3"/>
              </a:rPr>
              <a:t>2601.15255</a:t>
            </a:r>
            <a:r>
              <a:rPr lang="en-US" sz="2600" dirty="0">
                <a:sym typeface="Wingdings" pitchFamily="2" charset="2"/>
              </a:rPr>
              <a:t>)</a:t>
            </a:r>
            <a:endParaRPr lang="en-US" sz="2600" b="1" u="sng" dirty="0">
              <a:solidFill>
                <a:srgbClr val="FF0000"/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proto-collaboration established 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A </a:t>
            </a:r>
            <a:r>
              <a:rPr lang="en-US" dirty="0">
                <a:sym typeface="Wingdings" pitchFamily="2" charset="2"/>
              </a:rPr>
              <a:t>proof-of-concept </a:t>
            </a:r>
            <a:r>
              <a:rPr lang="en-US" sz="3000" dirty="0">
                <a:sym typeface="Wingdings" pitchFamily="2" charset="2"/>
              </a:rPr>
              <a:t>Pathfinder experiment is being developed for SLAC LESA facility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Crystal processing has been exercised  Costs better known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presents an excellent opportunity to lead in DSP production &amp; discovery in beams, through the strong partnership with international HEP communit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pic>
        <p:nvPicPr>
          <p:cNvPr id="4" name="Picture 3" descr="A group of people holding a banner&#10;&#10;Description automatically generated">
            <a:extLst>
              <a:ext uri="{FF2B5EF4-FFF2-40B4-BE49-F238E27FC236}">
                <a16:creationId xmlns:a16="http://schemas.microsoft.com/office/drawing/2014/main" id="{BCA73BEE-BBA9-C578-CB88-53379412DE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900" y="1856994"/>
            <a:ext cx="8458200" cy="439140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3D5A49-2270-C379-6CB6-A53B3E5A1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13ADE9-598D-7DD0-FBCA-4AD96B503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34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9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75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0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3D53E-A76E-F62A-41D2-074A9CA4C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113" y="2667000"/>
            <a:ext cx="7772400" cy="1143000"/>
          </a:xfrm>
        </p:spPr>
        <p:txBody>
          <a:bodyPr/>
          <a:lstStyle/>
          <a:p>
            <a:r>
              <a:rPr lang="en-US" sz="8800" b="1" dirty="0"/>
              <a:t>Extra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531202D-336E-2A08-B0B6-669DFF2B7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320C2A-3792-65B0-7A07-4985544FC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67B1BD-7ADA-32D6-2A87-DC4731649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5474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6947A3-300D-B8A8-4471-3F5B4D193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76200"/>
            <a:ext cx="8406713" cy="668295"/>
          </a:xfrm>
        </p:spPr>
        <p:txBody>
          <a:bodyPr/>
          <a:lstStyle/>
          <a:p>
            <a:r>
              <a:rPr lang="en-US" sz="4000" b="1" dirty="0"/>
              <a:t>Estimated Exp. Costs &amp; Responsib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0E15BA9-69A5-B3CC-7434-C8743EE185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3DF4C42-6DC5-6B30-C2C4-21E294230928}"/>
              </a:ext>
            </a:extLst>
          </p:cNvPr>
          <p:cNvGraphicFramePr>
            <a:graphicFrameLocks noGrp="1"/>
          </p:cNvGraphicFramePr>
          <p:nvPr/>
        </p:nvGraphicFramePr>
        <p:xfrm>
          <a:off x="457199" y="609600"/>
          <a:ext cx="8305801" cy="54673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28414">
                  <a:extLst>
                    <a:ext uri="{9D8B030D-6E8A-4147-A177-3AD203B41FA5}">
                      <a16:colId xmlns:a16="http://schemas.microsoft.com/office/drawing/2014/main" val="2016226649"/>
                    </a:ext>
                  </a:extLst>
                </a:gridCol>
                <a:gridCol w="2268704">
                  <a:extLst>
                    <a:ext uri="{9D8B030D-6E8A-4147-A177-3AD203B41FA5}">
                      <a16:colId xmlns:a16="http://schemas.microsoft.com/office/drawing/2014/main" val="3549269498"/>
                    </a:ext>
                  </a:extLst>
                </a:gridCol>
                <a:gridCol w="2408683">
                  <a:extLst>
                    <a:ext uri="{9D8B030D-6E8A-4147-A177-3AD203B41FA5}">
                      <a16:colId xmlns:a16="http://schemas.microsoft.com/office/drawing/2014/main" val="1081088559"/>
                    </a:ext>
                  </a:extLst>
                </a:gridCol>
              </a:tblGrid>
              <a:tr h="5133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b="1" u="none" strike="noStrike" dirty="0">
                          <a:effectLst/>
                        </a:rPr>
                        <a:t>Experiment System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b="1" u="none" strike="noStrike" dirty="0">
                          <a:effectLst/>
                        </a:rPr>
                        <a:t>Costs ($k)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b="1" u="none" strike="noStrike" dirty="0">
                          <a:effectLst/>
                        </a:rPr>
                        <a:t>Responsible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3950630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Target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10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US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61428926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Vac. Decay Chamber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100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US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8593581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Motion Table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80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effectLst/>
                        </a:rPr>
                        <a:t>US</a:t>
                      </a:r>
                      <a:endParaRPr lang="en-US" sz="2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2947654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Permanent Magnet (1T)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solidFill>
                            <a:srgbClr val="FF0000"/>
                          </a:solidFill>
                          <a:effectLst/>
                        </a:rPr>
                        <a:t>240</a:t>
                      </a:r>
                      <a:endParaRPr lang="en-US" sz="2800" b="0" i="0" u="none" strike="noStrike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SK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76582008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Si Tracker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400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SK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8963014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Ecal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effectLst/>
                        </a:rPr>
                        <a:t>440</a:t>
                      </a:r>
                      <a:endParaRPr lang="en-US" sz="2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US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56312954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Trigger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solidFill>
                            <a:srgbClr val="FF0000"/>
                          </a:solidFill>
                          <a:effectLst/>
                        </a:rPr>
                        <a:t>100</a:t>
                      </a:r>
                      <a:endParaRPr lang="en-US" sz="2800" b="0" i="0" u="none" strike="noStrike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solidFill>
                            <a:srgbClr val="FF0000"/>
                          </a:solidFill>
                          <a:effectLst/>
                        </a:rPr>
                        <a:t>US+SK</a:t>
                      </a:r>
                      <a:endParaRPr lang="en-US" sz="2800" b="0" i="0" u="none" strike="noStrike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24671390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Computing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200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solidFill>
                            <a:srgbClr val="FF0000"/>
                          </a:solidFill>
                          <a:effectLst/>
                        </a:rPr>
                        <a:t>US+SK</a:t>
                      </a:r>
                      <a:endParaRPr lang="en-US" sz="2800" b="0" i="0" u="none" strike="noStrike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9157350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solidFill>
                            <a:srgbClr val="FF0000"/>
                          </a:solidFill>
                          <a:effectLst/>
                        </a:rPr>
                        <a:t>Experiment Effort</a:t>
                      </a:r>
                      <a:endParaRPr lang="en-US" sz="2800" b="0" i="0" u="none" strike="noStrike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670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US+SK</a:t>
                      </a:r>
                      <a:endParaRPr lang="en-US" sz="2800" b="0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8744075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 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 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>
                          <a:effectLst/>
                        </a:rPr>
                        <a:t> </a:t>
                      </a:r>
                      <a:endParaRPr lang="en-US" sz="2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59522714"/>
                  </a:ext>
                </a:extLst>
              </a:tr>
              <a:tr h="4503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u="none" strike="noStrike">
                          <a:effectLst/>
                        </a:rPr>
                        <a:t>Total</a:t>
                      </a:r>
                      <a:endParaRPr lang="en-US" sz="2800" b="1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u="none" strike="noStrike" dirty="0">
                          <a:effectLst/>
                        </a:rPr>
                        <a:t>2240</a:t>
                      </a:r>
                      <a:endParaRPr lang="en-US" sz="28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(IDC on M&amp;S uncounted) 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995848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CAE01E4-5CFB-E87D-83A2-619CFBC8E408}"/>
              </a:ext>
            </a:extLst>
          </p:cNvPr>
          <p:cNvSpPr txBox="1"/>
          <p:nvPr/>
        </p:nvSpPr>
        <p:spPr>
          <a:xfrm>
            <a:off x="5105400" y="6062430"/>
            <a:ext cx="3124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en-US" sz="1800" dirty="0">
                <a:solidFill>
                  <a:srgbClr val="FF0000"/>
                </a:solidFill>
                <a:latin typeface="+mj-lt"/>
              </a:rPr>
              <a:t>SK contributions amount to ~ 50%</a:t>
            </a:r>
            <a:endParaRPr lang="en-US" sz="1800" b="0" i="0" u="none" strike="noStrike" dirty="0">
              <a:solidFill>
                <a:srgbClr val="FF0000"/>
              </a:solidFill>
              <a:effectLst/>
              <a:latin typeface="+mj-lt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3E977B8-1A3B-62E8-2A57-6324B0022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C4BFAB-BBEA-FA50-4855-FBA39D2F22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20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6EA42-A30A-B1F2-03EB-A254E1E2D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442" y="0"/>
            <a:ext cx="8089557" cy="838200"/>
          </a:xfrm>
        </p:spPr>
        <p:txBody>
          <a:bodyPr/>
          <a:lstStyle/>
          <a:p>
            <a:r>
              <a:rPr lang="en-US" sz="4800" b="1" dirty="0"/>
              <a:t>Yearly cost w/ human resourc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15BFDE-D1F2-8A84-F799-74B60425BF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E21F939-5423-B6F1-E57A-2F94E02077BA}"/>
              </a:ext>
            </a:extLst>
          </p:cNvPr>
          <p:cNvGraphicFramePr>
            <a:graphicFrameLocks noGrp="1"/>
          </p:cNvGraphicFramePr>
          <p:nvPr/>
        </p:nvGraphicFramePr>
        <p:xfrm>
          <a:off x="635000" y="975298"/>
          <a:ext cx="8287267" cy="49836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2400">
                  <a:extLst>
                    <a:ext uri="{9D8B030D-6E8A-4147-A177-3AD203B41FA5}">
                      <a16:colId xmlns:a16="http://schemas.microsoft.com/office/drawing/2014/main" val="1482065744"/>
                    </a:ext>
                  </a:extLst>
                </a:gridCol>
                <a:gridCol w="997464">
                  <a:extLst>
                    <a:ext uri="{9D8B030D-6E8A-4147-A177-3AD203B41FA5}">
                      <a16:colId xmlns:a16="http://schemas.microsoft.com/office/drawing/2014/main" val="145903599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060816883"/>
                    </a:ext>
                  </a:extLst>
                </a:gridCol>
                <a:gridCol w="766299">
                  <a:extLst>
                    <a:ext uri="{9D8B030D-6E8A-4147-A177-3AD203B41FA5}">
                      <a16:colId xmlns:a16="http://schemas.microsoft.com/office/drawing/2014/main" val="3030155721"/>
                    </a:ext>
                  </a:extLst>
                </a:gridCol>
                <a:gridCol w="669445">
                  <a:extLst>
                    <a:ext uri="{9D8B030D-6E8A-4147-A177-3AD203B41FA5}">
                      <a16:colId xmlns:a16="http://schemas.microsoft.com/office/drawing/2014/main" val="2515223685"/>
                    </a:ext>
                  </a:extLst>
                </a:gridCol>
                <a:gridCol w="669445">
                  <a:extLst>
                    <a:ext uri="{9D8B030D-6E8A-4147-A177-3AD203B41FA5}">
                      <a16:colId xmlns:a16="http://schemas.microsoft.com/office/drawing/2014/main" val="3382079928"/>
                    </a:ext>
                  </a:extLst>
                </a:gridCol>
                <a:gridCol w="915679">
                  <a:extLst>
                    <a:ext uri="{9D8B030D-6E8A-4147-A177-3AD203B41FA5}">
                      <a16:colId xmlns:a16="http://schemas.microsoft.com/office/drawing/2014/main" val="505650002"/>
                    </a:ext>
                  </a:extLst>
                </a:gridCol>
                <a:gridCol w="669445">
                  <a:extLst>
                    <a:ext uri="{9D8B030D-6E8A-4147-A177-3AD203B41FA5}">
                      <a16:colId xmlns:a16="http://schemas.microsoft.com/office/drawing/2014/main" val="2779811847"/>
                    </a:ext>
                  </a:extLst>
                </a:gridCol>
                <a:gridCol w="669445">
                  <a:extLst>
                    <a:ext uri="{9D8B030D-6E8A-4147-A177-3AD203B41FA5}">
                      <a16:colId xmlns:a16="http://schemas.microsoft.com/office/drawing/2014/main" val="4262731073"/>
                    </a:ext>
                  </a:extLst>
                </a:gridCol>
                <a:gridCol w="669445">
                  <a:extLst>
                    <a:ext uri="{9D8B030D-6E8A-4147-A177-3AD203B41FA5}">
                      <a16:colId xmlns:a16="http://schemas.microsoft.com/office/drawing/2014/main" val="1122116459"/>
                    </a:ext>
                  </a:extLst>
                </a:gridCol>
              </a:tblGrid>
              <a:tr h="7632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Tasks per year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Human Resources (HR - loaded)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US ($k)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SK ($k)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Grand Total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extLst>
                  <a:ext uri="{0D108BD9-81ED-4DB2-BD59-A6C34878D82A}">
                    <a16:rowId xmlns:a16="http://schemas.microsoft.com/office/drawing/2014/main" val="2036451922"/>
                  </a:ext>
                </a:extLst>
              </a:tr>
              <a:tr h="3642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effectLst/>
                        </a:rPr>
                        <a:t>PD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effectLst/>
                        </a:rPr>
                        <a:t>GRA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HR</a:t>
                      </a: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effectLst/>
                        </a:rPr>
                        <a:t>Det.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Total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HR</a:t>
                      </a: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effectLst/>
                        </a:rPr>
                        <a:t>Det.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Total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0399828"/>
                  </a:ext>
                </a:extLst>
              </a:tr>
              <a:tr h="6828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Yr 1 - design R&amp;D + start of construc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2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4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22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19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320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176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1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76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686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extLst>
                  <a:ext uri="{0D108BD9-81ED-4DB2-BD59-A6C34878D82A}">
                    <a16:rowId xmlns:a16="http://schemas.microsoft.com/office/drawing/2014/main" val="4215157513"/>
                  </a:ext>
                </a:extLst>
              </a:tr>
              <a:tr h="6828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Yr 2 - Complete construction + commissioni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3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33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47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805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264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100</a:t>
                      </a: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364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1169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extLst>
                  <a:ext uri="{0D108BD9-81ED-4DB2-BD59-A6C34878D82A}">
                    <a16:rowId xmlns:a16="http://schemas.microsoft.com/office/drawing/2014/main" val="2487961756"/>
                  </a:ext>
                </a:extLst>
              </a:tr>
              <a:tr h="6828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Yr 3 - Stage 2 - Trk+magnet + data taking, an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3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33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25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580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264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58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844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1424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extLst>
                  <a:ext uri="{0D108BD9-81ED-4DB2-BD59-A6C34878D82A}">
                    <a16:rowId xmlns:a16="http://schemas.microsoft.com/office/drawing/2014/main" val="2970326426"/>
                  </a:ext>
                </a:extLst>
              </a:tr>
              <a:tr h="6828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Yr 4 - Stage 2 data taking, Stage 3+4 de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3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33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2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530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264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34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609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1139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extLst>
                  <a:ext uri="{0D108BD9-81ED-4DB2-BD59-A6C34878D82A}">
                    <a16:rowId xmlns:a16="http://schemas.microsoft.com/office/drawing/2014/main" val="1217307639"/>
                  </a:ext>
                </a:extLst>
              </a:tr>
              <a:tr h="6828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</a:rPr>
                        <a:t>Yr</a:t>
                      </a:r>
                      <a:r>
                        <a:rPr lang="en-US" sz="1200" u="none" strike="noStrike" dirty="0">
                          <a:effectLst/>
                        </a:rPr>
                        <a:t> 5 - Stage 3 and 4 data taking &amp; analys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3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33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330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264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64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594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extLst>
                  <a:ext uri="{0D108BD9-81ED-4DB2-BD59-A6C34878D82A}">
                    <a16:rowId xmlns:a16="http://schemas.microsoft.com/office/drawing/2014/main" val="3927174110"/>
                  </a:ext>
                </a:extLst>
              </a:tr>
              <a:tr h="441855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Total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 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 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1540 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1115 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655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 1232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1125 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357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5012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7232" marR="7232" marT="7232" marB="0" anchor="ctr"/>
                </a:tc>
                <a:extLst>
                  <a:ext uri="{0D108BD9-81ED-4DB2-BD59-A6C34878D82A}">
                    <a16:rowId xmlns:a16="http://schemas.microsoft.com/office/drawing/2014/main" val="518517663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CED68CB-E7E6-C148-6A10-CE6F89C4E871}"/>
              </a:ext>
            </a:extLst>
          </p:cNvPr>
          <p:cNvSpPr/>
          <p:nvPr/>
        </p:nvSpPr>
        <p:spPr bwMode="auto">
          <a:xfrm>
            <a:off x="2057400" y="914400"/>
            <a:ext cx="1905000" cy="51054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25394C-C2BA-8C24-1D15-73A25EB8029A}"/>
              </a:ext>
            </a:extLst>
          </p:cNvPr>
          <p:cNvSpPr txBox="1"/>
          <p:nvPr/>
        </p:nvSpPr>
        <p:spPr>
          <a:xfrm>
            <a:off x="5638800" y="5953821"/>
            <a:ext cx="3352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en-US" sz="1800" dirty="0">
                <a:latin typeface="+mj-lt"/>
              </a:rPr>
              <a:t>*</a:t>
            </a:r>
            <a:r>
              <a:rPr lang="en-US" sz="1800" u="none" strike="noStrike" dirty="0">
                <a:effectLst/>
                <a:latin typeface="+mj-lt"/>
              </a:rPr>
              <a:t>HR cost is loaded (SK at 0.85*US)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+mj-lt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B62314-2D28-970F-9D65-A4F863948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15736F-ADB0-D804-C0E1-70405830B5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605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90500" y="76200"/>
            <a:ext cx="87630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 Unique Opportunity on Dark S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4839" y="838200"/>
            <a:ext cx="8746761" cy="4953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600" dirty="0"/>
              <a:t>Many DM search experiments in beams BUT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None of them at a super-short baseline (&lt;1m)!</a:t>
            </a:r>
          </a:p>
          <a:p>
            <a:pPr lvl="1">
              <a:lnSpc>
                <a:spcPct val="90000"/>
              </a:lnSpc>
            </a:pPr>
            <a:r>
              <a:rPr lang="en-US" sz="3200" dirty="0"/>
              <a:t>Yes, it presents a significant challenge</a:t>
            </a:r>
          </a:p>
          <a:p>
            <a:pPr lvl="1">
              <a:lnSpc>
                <a:spcPct val="90000"/>
              </a:lnSpc>
            </a:pPr>
            <a:r>
              <a:rPr lang="en-US" sz="3200" dirty="0"/>
              <a:t>Very high radiation, including neutrons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This makes DAMSA unique!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DAMSA is a table-top size experiment with good physics cases and provides an excellent opportunity to enhance international collaboration</a:t>
            </a:r>
          </a:p>
          <a:p>
            <a:pPr lvl="1">
              <a:lnSpc>
                <a:spcPct val="90000"/>
              </a:lnSpc>
            </a:pPr>
            <a:r>
              <a:rPr lang="en-US" sz="3200" dirty="0"/>
              <a:t>Takes advantage of the ceiling effec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CEDAC7-5A3D-7403-CE65-86420008B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C8D381-C252-E2D8-8D90-3B632C056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6E4CA5-317D-214D-E912-1B6F97406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559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8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A741864-6889-226F-9A34-1785C6C545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6014" y="2286000"/>
            <a:ext cx="5134186" cy="3962400"/>
          </a:xfrm>
          <a:prstGeom prst="rect">
            <a:avLst/>
          </a:prstGeom>
        </p:spPr>
      </p:pic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52EF81B-C2D2-F049-A062-37871DEBED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800" y="609600"/>
            <a:ext cx="4114800" cy="1518356"/>
          </a:xfrm>
          <a:prstGeom prst="rect">
            <a:avLst/>
          </a:prstGeom>
        </p:spPr>
      </p:pic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Physics Strategy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612747"/>
            <a:ext cx="4419600" cy="167325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 dirty="0"/>
              <a:t>Photons are the sources for dark sector particle production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Benchmark: Axion-like particles (ALP) in </a:t>
            </a:r>
            <a:r>
              <a:rPr lang="en-US" sz="2000" b="1" u="sng" dirty="0">
                <a:solidFill>
                  <a:srgbClr val="FF0000"/>
                </a:solidFill>
              </a:rPr>
              <a:t>two-photon</a:t>
            </a:r>
            <a:r>
              <a:rPr lang="en-US" sz="2000" dirty="0"/>
              <a:t> final state via the </a:t>
            </a:r>
            <a:r>
              <a:rPr lang="en-US" sz="2000" dirty="0" err="1"/>
              <a:t>Primakoff</a:t>
            </a:r>
            <a:r>
              <a:rPr lang="en-US" sz="2000" dirty="0"/>
              <a:t> process</a:t>
            </a:r>
            <a:endParaRPr lang="en-US" sz="2400" b="1" u="sng" dirty="0">
              <a:solidFill>
                <a:srgbClr val="FF0000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61436F3-FD4B-9F4F-9D1E-1188A2B95C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609" y="2286000"/>
            <a:ext cx="4205991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600" b="1" kern="0" dirty="0">
                <a:solidFill>
                  <a:srgbClr val="FF0000"/>
                </a:solidFill>
              </a:rPr>
              <a:t>Produce</a:t>
            </a:r>
            <a:r>
              <a:rPr lang="en-US" sz="2600" kern="0" dirty="0">
                <a:solidFill>
                  <a:srgbClr val="FF40FF"/>
                </a:solidFill>
              </a:rPr>
              <a:t> as many photons as possible from the beam</a:t>
            </a:r>
          </a:p>
          <a:p>
            <a:pPr>
              <a:lnSpc>
                <a:spcPct val="90000"/>
              </a:lnSpc>
            </a:pPr>
            <a:r>
              <a:rPr lang="en-US" sz="2600" b="1" kern="0" dirty="0">
                <a:solidFill>
                  <a:srgbClr val="FF0000"/>
                </a:solidFill>
              </a:rPr>
              <a:t>Capture</a:t>
            </a:r>
            <a:r>
              <a:rPr lang="en-US" sz="2600" kern="0" dirty="0">
                <a:solidFill>
                  <a:srgbClr val="FF40FF"/>
                </a:solidFill>
              </a:rPr>
              <a:t> as many ALPs in as wide a mass range as possible</a:t>
            </a:r>
          </a:p>
          <a:p>
            <a:pPr>
              <a:lnSpc>
                <a:spcPct val="90000"/>
              </a:lnSpc>
            </a:pPr>
            <a:r>
              <a:rPr lang="en-US" sz="2600" b="1" kern="0" dirty="0">
                <a:solidFill>
                  <a:srgbClr val="FF0000"/>
                </a:solidFill>
              </a:rPr>
              <a:t>Mitigate </a:t>
            </a:r>
            <a:r>
              <a:rPr lang="en-US" sz="2600" kern="0" dirty="0">
                <a:solidFill>
                  <a:srgbClr val="FF40FF"/>
                </a:solidFill>
              </a:rPr>
              <a:t>the backgrounds from neutral particles, using </a:t>
            </a:r>
            <a:r>
              <a:rPr lang="en-US" sz="2600" b="1" u="sng" kern="0" dirty="0">
                <a:solidFill>
                  <a:srgbClr val="0432FF"/>
                </a:solidFill>
              </a:rPr>
              <a:t>two EM particle final states</a:t>
            </a:r>
          </a:p>
          <a:p>
            <a:pPr>
              <a:lnSpc>
                <a:spcPct val="90000"/>
              </a:lnSpc>
            </a:pPr>
            <a:r>
              <a:rPr lang="en-US" sz="2600" b="1" kern="0" dirty="0">
                <a:solidFill>
                  <a:srgbClr val="FF0000"/>
                </a:solidFill>
              </a:rPr>
              <a:t>Place</a:t>
            </a:r>
            <a:r>
              <a:rPr lang="en-US" sz="2600" kern="0" dirty="0">
                <a:solidFill>
                  <a:srgbClr val="FF40FF"/>
                </a:solidFill>
              </a:rPr>
              <a:t> the detector very close to the beam</a:t>
            </a:r>
          </a:p>
        </p:txBody>
      </p:sp>
      <p:sp>
        <p:nvSpPr>
          <p:cNvPr id="4" name="Notched Right Arrow 3">
            <a:extLst>
              <a:ext uri="{FF2B5EF4-FFF2-40B4-BE49-F238E27FC236}">
                <a16:creationId xmlns:a16="http://schemas.microsoft.com/office/drawing/2014/main" id="{E7CD3227-A417-CC27-4952-4E47D45DA0B7}"/>
              </a:ext>
            </a:extLst>
          </p:cNvPr>
          <p:cNvSpPr/>
          <p:nvPr/>
        </p:nvSpPr>
        <p:spPr bwMode="auto">
          <a:xfrm rot="18808504">
            <a:off x="7500219" y="3229088"/>
            <a:ext cx="1523619" cy="1406188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Focus</a:t>
            </a:r>
            <a:r>
              <a:rPr kumimoji="0" lang="en-US" sz="20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here</a:t>
            </a: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DAED16-CB89-E5C2-CD98-B7B1098F212D}"/>
              </a:ext>
            </a:extLst>
          </p:cNvPr>
          <p:cNvSpPr txBox="1"/>
          <p:nvPr/>
        </p:nvSpPr>
        <p:spPr>
          <a:xfrm>
            <a:off x="6096000" y="2161401"/>
            <a:ext cx="3124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kern="0" dirty="0" err="1">
                <a:sym typeface="Wingdings" pitchFamily="2" charset="2"/>
              </a:rPr>
              <a:t>Brdar</a:t>
            </a:r>
            <a:r>
              <a:rPr lang="en-US" sz="1200" kern="0" dirty="0">
                <a:sym typeface="Wingdings" pitchFamily="2" charset="2"/>
              </a:rPr>
              <a:t>, JY,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5"/>
              </a:rPr>
              <a:t>PRL126, 201801</a:t>
            </a:r>
            <a:r>
              <a:rPr lang="en-US" sz="1200" kern="0" dirty="0">
                <a:sym typeface="Wingdings" pitchFamily="2" charset="2"/>
              </a:rPr>
              <a:t> (2021)</a:t>
            </a:r>
            <a:endParaRPr lang="en-US" sz="1050" kern="0" dirty="0">
              <a:sym typeface="Wingdings" pitchFamily="2" charset="2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FE42E9-2C3F-F9CD-6695-50BE066FDE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7BF6E72-022F-21BA-FED1-7449CC94F9AB}"/>
              </a:ext>
            </a:extLst>
          </p:cNvPr>
          <p:cNvSpPr/>
          <p:nvPr/>
        </p:nvSpPr>
        <p:spPr bwMode="auto">
          <a:xfrm>
            <a:off x="7543800" y="3124200"/>
            <a:ext cx="1447800" cy="1143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EA9770-B8BD-F889-F3A6-3A3CFB98D9E6}"/>
              </a:ext>
            </a:extLst>
          </p:cNvPr>
          <p:cNvSpPr txBox="1"/>
          <p:nvPr/>
        </p:nvSpPr>
        <p:spPr>
          <a:xfrm>
            <a:off x="4724400" y="2362200"/>
            <a:ext cx="266737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hat is the most peculiar feature of the DUNE sensitivity reach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7AC4A8-109A-DB95-DCDF-C7D367C4032B}"/>
              </a:ext>
            </a:extLst>
          </p:cNvPr>
          <p:cNvSpPr txBox="1"/>
          <p:nvPr/>
        </p:nvSpPr>
        <p:spPr>
          <a:xfrm rot="3356928">
            <a:off x="7009623" y="3150479"/>
            <a:ext cx="2531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432FF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is edge limited (ceiling) by the distance from the source to the detector</a:t>
            </a:r>
          </a:p>
        </p:txBody>
      </p:sp>
      <p:pic>
        <p:nvPicPr>
          <p:cNvPr id="8" name="Picture 7" descr="A person sitting on a blue couch&#10;&#10;Description automatically generated">
            <a:extLst>
              <a:ext uri="{FF2B5EF4-FFF2-40B4-BE49-F238E27FC236}">
                <a16:creationId xmlns:a16="http://schemas.microsoft.com/office/drawing/2014/main" id="{6F3AC6DA-CDFF-BD4E-087F-F3A6DDF9E0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54813" y="414663"/>
            <a:ext cx="6851495" cy="602216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A86D2C9-5DAD-9D68-D755-227A827CE6C5}"/>
              </a:ext>
            </a:extLst>
          </p:cNvPr>
          <p:cNvSpPr/>
          <p:nvPr/>
        </p:nvSpPr>
        <p:spPr bwMode="auto">
          <a:xfrm>
            <a:off x="5113695" y="1752600"/>
            <a:ext cx="906105" cy="685800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Times New Roman" pitchFamily="18" charset="0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85E67D5C-EE7C-38A6-0D53-5D83E8960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A62C42B-7BD4-17E1-C5B7-016BC7D452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158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61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2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4" grpId="0" animBg="1"/>
      <p:bldP spid="11" grpId="0"/>
      <p:bldP spid="12" grpId="0" animBg="1"/>
      <p:bldP spid="12" grpId="1" animBg="1"/>
      <p:bldP spid="13" grpId="0"/>
      <p:bldP spid="13" grpId="1"/>
      <p:bldP spid="14" grpId="0"/>
      <p:bldP spid="14" grpId="1"/>
      <p:bldP spid="10" grpId="0" animBg="1"/>
      <p:bldP spid="10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Exp. Strategy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6819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Inject and absorb as beam particles and produce as large number of </a:t>
            </a:r>
            <a:r>
              <a:rPr lang="en-US" sz="2800" dirty="0">
                <a:latin typeface="Symbol" pitchFamily="2" charset="2"/>
              </a:rPr>
              <a:t>g </a:t>
            </a:r>
            <a:r>
              <a:rPr lang="en-US" sz="2800" dirty="0"/>
              <a:t>in the </a:t>
            </a:r>
            <a:r>
              <a:rPr lang="en-US" sz="2800" b="1" u="sng" dirty="0">
                <a:solidFill>
                  <a:srgbClr val="FF0000"/>
                </a:solidFill>
              </a:rPr>
              <a:t>dump/target</a:t>
            </a:r>
            <a:r>
              <a:rPr lang="en-US" sz="2800" dirty="0"/>
              <a:t>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Allow higher coupling ALP’s to </a:t>
            </a:r>
            <a:r>
              <a:rPr lang="en-US" sz="2800" b="1" u="sng" dirty="0">
                <a:solidFill>
                  <a:srgbClr val="FF0000"/>
                </a:solidFill>
              </a:rPr>
              <a:t>decay in the vacuum </a:t>
            </a:r>
            <a:r>
              <a:rPr lang="en-US" sz="2800" dirty="0"/>
              <a:t>w/ as small number of neutrons escaping the dump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Place the </a:t>
            </a:r>
            <a:r>
              <a:rPr lang="en-US" sz="2800" b="1" u="sng" dirty="0">
                <a:solidFill>
                  <a:srgbClr val="FF0000"/>
                </a:solidFill>
              </a:rPr>
              <a:t>detector as close to the dump as possible</a:t>
            </a:r>
            <a:r>
              <a:rPr lang="en-US" sz="2800" b="1" u="sng" dirty="0"/>
              <a:t> </a:t>
            </a:r>
            <a:r>
              <a:rPr lang="en-US" sz="2800" dirty="0"/>
              <a:t>on axis to expand the mass reach to higher mass region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182755"/>
            <a:ext cx="1905000" cy="457200"/>
          </a:xfrm>
        </p:spPr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D4D17E-E873-D04D-91CA-32CC20801577}"/>
              </a:ext>
            </a:extLst>
          </p:cNvPr>
          <p:cNvGrpSpPr/>
          <p:nvPr/>
        </p:nvGrpSpPr>
        <p:grpSpPr>
          <a:xfrm>
            <a:off x="852474" y="2895597"/>
            <a:ext cx="7224726" cy="3382201"/>
            <a:chOff x="383852" y="2021013"/>
            <a:chExt cx="8561329" cy="4342418"/>
          </a:xfrm>
        </p:grpSpPr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9DA62673-4527-5440-AB46-D121FD21670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725407" y="3018370"/>
              <a:ext cx="1884119" cy="2237412"/>
            </a:xfrm>
            <a:prstGeom prst="can">
              <a:avLst>
                <a:gd name="adj" fmla="val 14528"/>
              </a:avLst>
            </a:prstGeom>
            <a:solidFill>
              <a:srgbClr val="729FCF">
                <a:alpha val="50000"/>
              </a:srgbClr>
            </a:solidFill>
            <a:ln w="9525" cap="flat">
              <a:solidFill>
                <a:srgbClr val="3465A4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Line 3">
              <a:extLst>
                <a:ext uri="{FF2B5EF4-FFF2-40B4-BE49-F238E27FC236}">
                  <a16:creationId xmlns:a16="http://schemas.microsoft.com/office/drawing/2014/main" id="{93FE25D9-CC9D-5E42-A11E-781771D7E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852" y="4151131"/>
              <a:ext cx="976357" cy="1769"/>
            </a:xfrm>
            <a:prstGeom prst="line">
              <a:avLst/>
            </a:prstGeom>
            <a:noFill/>
            <a:ln w="76200" cap="flat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08B2C483-4144-3945-BC0B-8CEEC2F964A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875891" y="3880414"/>
              <a:ext cx="1881809" cy="504667"/>
            </a:xfrm>
            <a:prstGeom prst="can">
              <a:avLst>
                <a:gd name="adj" fmla="val 24157"/>
              </a:avLst>
            </a:prstGeom>
            <a:solidFill>
              <a:srgbClr val="FF972F">
                <a:alpha val="50000"/>
              </a:srgbClr>
            </a:solidFill>
            <a:ln w="9525" cap="flat">
              <a:solidFill>
                <a:srgbClr val="FFBF00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AutoShape 5">
              <a:extLst>
                <a:ext uri="{FF2B5EF4-FFF2-40B4-BE49-F238E27FC236}">
                  <a16:creationId xmlns:a16="http://schemas.microsoft.com/office/drawing/2014/main" id="{FB258829-7F09-5241-8FEB-872F4433C4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465555" y="2931902"/>
              <a:ext cx="3625637" cy="2587835"/>
            </a:xfrm>
            <a:prstGeom prst="can">
              <a:avLst>
                <a:gd name="adj" fmla="val 10819"/>
              </a:avLst>
            </a:prstGeom>
            <a:solidFill>
              <a:srgbClr val="E8F2A1">
                <a:alpha val="50000"/>
              </a:srgbClr>
            </a:solidFill>
            <a:ln w="9525" cap="flat">
              <a:solidFill>
                <a:srgbClr val="AFD095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Line 6">
              <a:extLst>
                <a:ext uri="{FF2B5EF4-FFF2-40B4-BE49-F238E27FC236}">
                  <a16:creationId xmlns:a16="http://schemas.microsoft.com/office/drawing/2014/main" id="{ED775245-F1E9-2848-95B8-EB62247851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2291" y="2021013"/>
              <a:ext cx="6681999" cy="2131886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B2E75E35-96A8-F84C-A7AC-1DB7EA45C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0" y="4151131"/>
              <a:ext cx="6643308" cy="221230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AutoShape 8">
              <a:extLst>
                <a:ext uri="{FF2B5EF4-FFF2-40B4-BE49-F238E27FC236}">
                  <a16:creationId xmlns:a16="http://schemas.microsoft.com/office/drawing/2014/main" id="{49844D8E-88CF-0C4D-82A0-0B3133F09B0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201509" y="3356806"/>
              <a:ext cx="3625637" cy="1736725"/>
            </a:xfrm>
            <a:prstGeom prst="can">
              <a:avLst>
                <a:gd name="adj" fmla="val 27343"/>
              </a:avLst>
            </a:prstGeom>
            <a:solidFill>
              <a:srgbClr val="FFD7D7">
                <a:alpha val="50000"/>
              </a:srgbClr>
            </a:solidFill>
            <a:ln w="9525" cap="flat">
              <a:solidFill>
                <a:srgbClr val="FF0000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ine 9">
              <a:extLst>
                <a:ext uri="{FF2B5EF4-FFF2-40B4-BE49-F238E27FC236}">
                  <a16:creationId xmlns:a16="http://schemas.microsoft.com/office/drawing/2014/main" id="{433117ED-9728-5442-8153-342CDC86E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1" y="4171223"/>
              <a:ext cx="6952890" cy="9071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 Box 10">
              <a:extLst>
                <a:ext uri="{FF2B5EF4-FFF2-40B4-BE49-F238E27FC236}">
                  <a16:creationId xmlns:a16="http://schemas.microsoft.com/office/drawing/2014/main" id="{037BFEDC-FA0E-064B-A1AE-9957A4E16E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121" y="3684185"/>
              <a:ext cx="976357" cy="276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Proton</a:t>
              </a:r>
            </a:p>
          </p:txBody>
        </p:sp>
      </p:grpSp>
      <p:sp>
        <p:nvSpPr>
          <p:cNvPr id="30" name="Text Box 10">
            <a:extLst>
              <a:ext uri="{FF2B5EF4-FFF2-40B4-BE49-F238E27FC236}">
                <a16:creationId xmlns:a16="http://schemas.microsoft.com/office/drawing/2014/main" id="{5F0EA1BA-876E-3641-90F5-C50B8A7EDAE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351125" y="4125875"/>
            <a:ext cx="685122" cy="815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W Dump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1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5m</a:t>
            </a:r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BCA31066-6F21-CE4D-86AD-427E80F85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62400" y="3505201"/>
            <a:ext cx="2144678" cy="54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Vacuum Decay Volume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1m, R=1.1m </a:t>
            </a:r>
          </a:p>
        </p:txBody>
      </p:sp>
      <p:sp>
        <p:nvSpPr>
          <p:cNvPr id="32" name="Text Box 10">
            <a:extLst>
              <a:ext uri="{FF2B5EF4-FFF2-40B4-BE49-F238E27FC236}">
                <a16:creationId xmlns:a16="http://schemas.microsoft.com/office/drawing/2014/main" id="{A2E1888D-B7CA-DC4A-A690-E592FE363B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2200" y="3536783"/>
            <a:ext cx="904730" cy="528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Detector</a:t>
            </a:r>
          </a:p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1.1m</a:t>
            </a:r>
            <a:endParaRPr lang="en-US" altLang="en-US" sz="1800" b="1" dirty="0">
              <a:solidFill>
                <a:srgbClr val="00B050"/>
              </a:solidFill>
              <a:highlight>
                <a:srgbClr val="FF40FF"/>
              </a:highlight>
              <a:latin typeface="+mn-lt"/>
            </a:endParaRPr>
          </a:p>
        </p:txBody>
      </p:sp>
      <p:sp>
        <p:nvSpPr>
          <p:cNvPr id="33" name="Text Box 10">
            <a:extLst>
              <a:ext uri="{FF2B5EF4-FFF2-40B4-BE49-F238E27FC236}">
                <a16:creationId xmlns:a16="http://schemas.microsoft.com/office/drawing/2014/main" id="{220837AF-7170-1F4E-9A32-2AD1B202F556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894109" y="4381444"/>
            <a:ext cx="1543692" cy="27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600" b="1" dirty="0">
                <a:solidFill>
                  <a:schemeClr val="accent2"/>
                </a:solidFill>
                <a:latin typeface="+mn-lt"/>
              </a:rPr>
              <a:t>Absorber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84FCFB3D-30A8-BF51-8CB8-E2CF3A8895AC}"/>
              </a:ext>
            </a:extLst>
          </p:cNvPr>
          <p:cNvCxnSpPr>
            <a:cxnSpLocks/>
          </p:cNvCxnSpPr>
          <p:nvPr/>
        </p:nvCxnSpPr>
        <p:spPr bwMode="auto">
          <a:xfrm>
            <a:off x="3886200" y="4495800"/>
            <a:ext cx="2895600" cy="0"/>
          </a:xfrm>
          <a:prstGeom prst="straightConnector1">
            <a:avLst/>
          </a:prstGeom>
          <a:noFill/>
          <a:ln w="38100" cap="flat" cmpd="sng" algn="ctr">
            <a:solidFill>
              <a:srgbClr val="FF0066"/>
            </a:solidFill>
            <a:prstDash val="solid"/>
            <a:round/>
            <a:headEnd type="stealth"/>
            <a:tailEnd type="none"/>
          </a:ln>
          <a:effectLst/>
        </p:spPr>
      </p:cxnSp>
      <p:sp>
        <p:nvSpPr>
          <p:cNvPr id="3" name="Text Box 10">
            <a:extLst>
              <a:ext uri="{FF2B5EF4-FFF2-40B4-BE49-F238E27FC236}">
                <a16:creationId xmlns:a16="http://schemas.microsoft.com/office/drawing/2014/main" id="{E5AB1612-577B-AAC0-2425-D3FBA064EE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82686" y="4638069"/>
            <a:ext cx="2770514" cy="641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Effective Detection Range 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(~1m from the source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545AD4-F97D-B1BE-FADE-668AEDF6F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B5356C-11F3-B6B6-EFDC-19562FF7A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20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0" grpId="0"/>
      <p:bldP spid="31" grpId="0"/>
      <p:bldP spid="32" grpId="0"/>
      <p:bldP spid="33" grpId="0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3/10/26</a:t>
            </a:r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37259" y="152400"/>
            <a:ext cx="8534400" cy="609600"/>
          </a:xfrm>
        </p:spPr>
        <p:txBody>
          <a:bodyPr/>
          <a:lstStyle/>
          <a:p>
            <a:pPr lvl="0" latinLnBrk="1"/>
            <a:r>
              <a:rPr lang="en-US" sz="6600" b="1" dirty="0"/>
              <a:t>The three key element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1534" y="1219200"/>
            <a:ext cx="8705850" cy="5029200"/>
          </a:xfrm>
        </p:spPr>
        <p:txBody>
          <a:bodyPr/>
          <a:lstStyle/>
          <a:p>
            <a:pPr algn="ctr">
              <a:lnSpc>
                <a:spcPct val="90000"/>
              </a:lnSpc>
            </a:pPr>
            <a:r>
              <a:rPr lang="en-US" sz="4800" dirty="0"/>
              <a:t>The beam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ump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etecto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54EAA23-4DFF-B583-F8AF-0D503C41E4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1021" y="1219200"/>
            <a:ext cx="870585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4800" kern="0" dirty="0"/>
              <a:t>The bad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ugly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goo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306D52-9DD8-42E2-FC19-7D04377651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2322" y="4511122"/>
            <a:ext cx="1679022" cy="16790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51E767-A2F6-237C-83DE-646343435C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2322" y="2725461"/>
            <a:ext cx="1679022" cy="16790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2144967-34D9-F2F8-E5DA-F80D3A0BCA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2322" y="939800"/>
            <a:ext cx="1679022" cy="167902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9834327-5FF7-E85E-F508-1A55DD5CAA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742" y="1464433"/>
            <a:ext cx="2775857" cy="38862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0F16EE-4FD9-38A5-C779-183DA5C4BB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468" y="1464433"/>
            <a:ext cx="2690132" cy="3821389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106A646-4D91-93E0-9363-7310EEB70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A574D4B-B8BA-FA79-480D-2F683BDE1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053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65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50"/>
                            </p:stCondLst>
                            <p:childTnLst>
                              <p:par>
                                <p:cTn id="6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6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4" grpId="0" uiExpand="1" build="p"/>
      <p:bldP spid="4" grpId="1" build="allAtOnce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0"/>
            <a:ext cx="8686800" cy="838200"/>
          </a:xfrm>
        </p:spPr>
        <p:txBody>
          <a:bodyPr/>
          <a:lstStyle/>
          <a:p>
            <a:r>
              <a:rPr lang="en-US" sz="48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Detector Design Concep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3/10/26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126EF69-6724-B050-EDE2-37B0560DA787}"/>
              </a:ext>
            </a:extLst>
          </p:cNvPr>
          <p:cNvGrpSpPr/>
          <p:nvPr/>
        </p:nvGrpSpPr>
        <p:grpSpPr>
          <a:xfrm>
            <a:off x="1295400" y="1883218"/>
            <a:ext cx="1905000" cy="3331665"/>
            <a:chOff x="1528125" y="1943100"/>
            <a:chExt cx="1425074" cy="23622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81335E9-3F2D-438D-081A-2743054B59A0}"/>
                </a:ext>
              </a:extLst>
            </p:cNvPr>
            <p:cNvSpPr/>
            <p:nvPr/>
          </p:nvSpPr>
          <p:spPr bwMode="auto">
            <a:xfrm>
              <a:off x="1528125" y="1943100"/>
              <a:ext cx="1425074" cy="2362200"/>
            </a:xfrm>
            <a:prstGeom prst="rect">
              <a:avLst/>
            </a:prstGeom>
            <a:noFill/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7EF029D-41C6-D6B4-1DFD-6354B18E0EA5}"/>
                </a:ext>
              </a:extLst>
            </p:cNvPr>
            <p:cNvSpPr txBox="1"/>
            <p:nvPr/>
          </p:nvSpPr>
          <p:spPr>
            <a:xfrm>
              <a:off x="1699136" y="2597370"/>
              <a:ext cx="1067983" cy="9819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Vacuum Decay Chamber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63C0C4E-1B6F-C8A4-BB45-FC5C9C95FDC0}"/>
              </a:ext>
            </a:extLst>
          </p:cNvPr>
          <p:cNvGrpSpPr/>
          <p:nvPr/>
        </p:nvGrpSpPr>
        <p:grpSpPr>
          <a:xfrm>
            <a:off x="4217756" y="939966"/>
            <a:ext cx="3707047" cy="5079834"/>
            <a:chOff x="4751153" y="1676400"/>
            <a:chExt cx="3707047" cy="3443356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CC350A4-ADF6-9432-E0C4-B9DA18E908F9}"/>
                </a:ext>
              </a:extLst>
            </p:cNvPr>
            <p:cNvSpPr/>
            <p:nvPr/>
          </p:nvSpPr>
          <p:spPr bwMode="auto">
            <a:xfrm>
              <a:off x="4810506" y="1696222"/>
              <a:ext cx="821089" cy="3423534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618AE55-F8EE-8993-ACD3-5DA0481E4F29}"/>
                </a:ext>
              </a:extLst>
            </p:cNvPr>
            <p:cNvSpPr/>
            <p:nvPr/>
          </p:nvSpPr>
          <p:spPr bwMode="auto">
            <a:xfrm>
              <a:off x="5641501" y="1681866"/>
              <a:ext cx="1940240" cy="342353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FCEF1A1-A6C4-EE4E-6162-B17DFBE5546A}"/>
                </a:ext>
              </a:extLst>
            </p:cNvPr>
            <p:cNvSpPr/>
            <p:nvPr/>
          </p:nvSpPr>
          <p:spPr bwMode="auto">
            <a:xfrm>
              <a:off x="7596180" y="1676400"/>
              <a:ext cx="862020" cy="3423534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F0FEFAE-44FF-9FA2-669A-EC512AA92702}"/>
                </a:ext>
              </a:extLst>
            </p:cNvPr>
            <p:cNvSpPr txBox="1"/>
            <p:nvPr/>
          </p:nvSpPr>
          <p:spPr>
            <a:xfrm rot="16200000">
              <a:off x="3599225" y="2933381"/>
              <a:ext cx="313485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HD HG-ECAL - </a:t>
              </a:r>
              <a:r>
                <a:rPr lang="en-US" dirty="0">
                  <a:latin typeface="Symbol" pitchFamily="2" charset="2"/>
                  <a:cs typeface="Arial Narrow" panose="020B0604020202020204" pitchFamily="34" charset="0"/>
                </a:rPr>
                <a:t>g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converter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(4 low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layers ~3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607DC0F-4F93-015D-3124-3728C5D34F42}"/>
                </a:ext>
              </a:extLst>
            </p:cNvPr>
            <p:cNvSpPr txBox="1"/>
            <p:nvPr/>
          </p:nvSpPr>
          <p:spPr>
            <a:xfrm rot="16200000">
              <a:off x="5412331" y="2867491"/>
              <a:ext cx="215977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2DST  W-</a:t>
              </a:r>
              <a:r>
                <a:rPr lang="en-US" dirty="0" err="1">
                  <a:latin typeface="Arial Narrow" panose="020B0604020202020204" pitchFamily="34" charset="0"/>
                  <a:cs typeface="Arial Narrow" panose="020B0604020202020204" pitchFamily="34" charset="0"/>
                </a:rPr>
                <a:t>Scint</a:t>
              </a:r>
              <a:endParaRPr lang="en-US" dirty="0">
                <a:latin typeface="Arial Narrow" panose="020B0604020202020204" pitchFamily="34" charset="0"/>
                <a:cs typeface="Arial Narrow" panose="020B0604020202020204" pitchFamily="34" charset="0"/>
              </a:endParaRP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13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51346A6-9561-E35D-D07D-8F65C8816D16}"/>
                </a:ext>
              </a:extLst>
            </p:cNvPr>
            <p:cNvSpPr txBox="1"/>
            <p:nvPr/>
          </p:nvSpPr>
          <p:spPr>
            <a:xfrm rot="16200000">
              <a:off x="7040076" y="2889976"/>
              <a:ext cx="19793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Tail catcher 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5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7CDE490-B2D0-1497-F578-887687D7B29D}"/>
              </a:ext>
            </a:extLst>
          </p:cNvPr>
          <p:cNvGrpSpPr/>
          <p:nvPr/>
        </p:nvGrpSpPr>
        <p:grpSpPr>
          <a:xfrm>
            <a:off x="2504434" y="1549564"/>
            <a:ext cx="1848613" cy="4464340"/>
            <a:chOff x="2504434" y="1549564"/>
            <a:chExt cx="1848613" cy="446434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4CE2ED0-F61A-0BF2-31E5-8F646AD7CB6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1549564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BDB983A-BDE8-AEE3-3BFC-D6F3F867D9B0}"/>
                </a:ext>
              </a:extLst>
            </p:cNvPr>
            <p:cNvSpPr txBox="1"/>
            <p:nvPr/>
          </p:nvSpPr>
          <p:spPr>
            <a:xfrm>
              <a:off x="2504434" y="5552239"/>
              <a:ext cx="18486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accent2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Magnet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5DE7E5B-E80C-93C4-3069-9496411BEF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5493640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F3782BC-32A6-DAC6-8887-FD7077247C58}"/>
              </a:ext>
            </a:extLst>
          </p:cNvPr>
          <p:cNvGrpSpPr/>
          <p:nvPr/>
        </p:nvGrpSpPr>
        <p:grpSpPr>
          <a:xfrm>
            <a:off x="3352803" y="1615552"/>
            <a:ext cx="838200" cy="3815401"/>
            <a:chOff x="3352803" y="1615552"/>
            <a:chExt cx="838200" cy="3815401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30BA25-1D31-5DF5-F90B-B91E90B8DB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5280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E6C7821-38E2-7244-A738-B198D940E53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68808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3806C9D5-E4DE-838D-3A63-A6027EA2156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85572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DE6089F-739C-9A64-1F23-34BF27AE567D}"/>
                </a:ext>
              </a:extLst>
            </p:cNvPr>
            <p:cNvSpPr txBox="1"/>
            <p:nvPr/>
          </p:nvSpPr>
          <p:spPr>
            <a:xfrm rot="16200000">
              <a:off x="2685030" y="3292420"/>
              <a:ext cx="1999265" cy="461665"/>
            </a:xfrm>
            <a:prstGeom prst="rect">
              <a:avLst/>
            </a:prstGeom>
            <a:solidFill>
              <a:srgbClr val="FFFFCC">
                <a:alpha val="65637"/>
              </a:srgbClr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6 layers of Si </a:t>
              </a:r>
              <a:r>
                <a:rPr lang="en-US" dirty="0" err="1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trk</a:t>
              </a:r>
              <a:endParaRPr lang="en-US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4EA8EA3-59C0-79BF-41A7-93926954B38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02336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A2C85BC-EBC4-C8D2-393F-7C060AFF428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19100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3FB96B13-7C85-CD73-40C8-A290BA1E8D4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2044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3036FD7-FD18-683C-BF01-47A6C840DCC5}"/>
              </a:ext>
            </a:extLst>
          </p:cNvPr>
          <p:cNvGrpSpPr/>
          <p:nvPr/>
        </p:nvGrpSpPr>
        <p:grpSpPr>
          <a:xfrm>
            <a:off x="638175" y="1169734"/>
            <a:ext cx="8496300" cy="4747131"/>
            <a:chOff x="685800" y="3287619"/>
            <a:chExt cx="8496300" cy="3107589"/>
          </a:xfrm>
        </p:grpSpPr>
        <p:pic>
          <p:nvPicPr>
            <p:cNvPr id="8" name="그림 5">
              <a:extLst>
                <a:ext uri="{FF2B5EF4-FFF2-40B4-BE49-F238E27FC236}">
                  <a16:creationId xmlns:a16="http://schemas.microsoft.com/office/drawing/2014/main" id="{F3CFCEF9-6333-BF9C-7309-3F7ADC02CB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800" y="3310196"/>
              <a:ext cx="7772400" cy="2862004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9F5C0FD-C80F-3ED9-6328-2146E8B72499}"/>
                </a:ext>
              </a:extLst>
            </p:cNvPr>
            <p:cNvSpPr txBox="1"/>
            <p:nvPr/>
          </p:nvSpPr>
          <p:spPr>
            <a:xfrm>
              <a:off x="1925994" y="5821371"/>
              <a:ext cx="188064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D=1m, L=1m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8937E19-AA42-2FC0-7276-D2DA137F55FA}"/>
                </a:ext>
              </a:extLst>
            </p:cNvPr>
            <p:cNvSpPr txBox="1"/>
            <p:nvPr/>
          </p:nvSpPr>
          <p:spPr>
            <a:xfrm>
              <a:off x="5122080" y="5933543"/>
              <a:ext cx="218842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D=10m, L=10m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BE4F15A-0F9C-9E45-7043-D68C03CD6AB5}"/>
                </a:ext>
              </a:extLst>
            </p:cNvPr>
            <p:cNvSpPr txBox="1"/>
            <p:nvPr/>
          </p:nvSpPr>
          <p:spPr>
            <a:xfrm>
              <a:off x="7848600" y="4363883"/>
              <a:ext cx="133350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D=10m, L = full containment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AE94F68-6E45-EDB2-AAEF-386FDD3E004C}"/>
                </a:ext>
              </a:extLst>
            </p:cNvPr>
            <p:cNvSpPr txBox="1"/>
            <p:nvPr/>
          </p:nvSpPr>
          <p:spPr>
            <a:xfrm>
              <a:off x="1889049" y="3287619"/>
              <a:ext cx="234000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NOT TO SCALE</a:t>
              </a:r>
            </a:p>
          </p:txBody>
        </p:sp>
      </p:grp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2AE9674E-52A6-3251-E50C-24317ACFC9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B1ECB831-8061-6FF9-BC58-06ADD2F58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624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1" y="0"/>
            <a:ext cx="8839200" cy="609600"/>
          </a:xfrm>
        </p:spPr>
        <p:txBody>
          <a:bodyPr/>
          <a:lstStyle/>
          <a:p>
            <a:pPr lvl="0" latinLnBrk="1"/>
            <a:r>
              <a:rPr lang="en-US" b="1" dirty="0"/>
              <a:t>Physics Driven DAMSA Det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533400"/>
            <a:ext cx="9067800" cy="58674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iscover dark sector particles beyond 2</a:t>
            </a:r>
            <a:r>
              <a:rPr lang="en-US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dirty="0">
                <a:sym typeface="Wingdings" pitchFamily="2" charset="2"/>
              </a:rPr>
              <a:t> ALP, such a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ark photon / ALP to </a:t>
            </a:r>
            <a:r>
              <a:rPr lang="en-US" dirty="0" err="1">
                <a:sym typeface="Wingdings" pitchFamily="2" charset="2"/>
              </a:rPr>
              <a:t>e</a:t>
            </a:r>
            <a:r>
              <a:rPr lang="en-US" baseline="30000" dirty="0" err="1">
                <a:sym typeface="Wingdings" pitchFamily="2" charset="2"/>
              </a:rPr>
              <a:t>+</a:t>
            </a:r>
            <a:r>
              <a:rPr lang="en-US" dirty="0" err="1">
                <a:sym typeface="Wingdings" pitchFamily="2" charset="2"/>
              </a:rPr>
              <a:t>e</a:t>
            </a:r>
            <a:r>
              <a:rPr lang="en-US" baseline="30000" dirty="0">
                <a:sym typeface="Wingdings" pitchFamily="2" charset="2"/>
              </a:rPr>
              <a:t>-</a:t>
            </a:r>
            <a:r>
              <a:rPr lang="en-US" dirty="0">
                <a:sym typeface="Wingdings" pitchFamily="2" charset="2"/>
              </a:rPr>
              <a:t>, </a:t>
            </a:r>
            <a:r>
              <a:rPr lang="en-US" dirty="0" err="1">
                <a:latin typeface="Symbol" pitchFamily="2" charset="2"/>
                <a:sym typeface="Wingdings" pitchFamily="2" charset="2"/>
              </a:rPr>
              <a:t>m</a:t>
            </a:r>
            <a:r>
              <a:rPr lang="en-US" baseline="30000" dirty="0" err="1">
                <a:sym typeface="Wingdings" pitchFamily="2" charset="2"/>
              </a:rPr>
              <a:t>+</a:t>
            </a:r>
            <a:r>
              <a:rPr lang="en-US" dirty="0" err="1">
                <a:latin typeface="Symbol" pitchFamily="2" charset="2"/>
                <a:sym typeface="Wingdings" pitchFamily="2" charset="2"/>
              </a:rPr>
              <a:t>m</a:t>
            </a:r>
            <a:r>
              <a:rPr lang="en-US" baseline="30000" dirty="0">
                <a:sym typeface="Wingdings" pitchFamily="2" charset="2"/>
              </a:rPr>
              <a:t>-</a:t>
            </a:r>
            <a:r>
              <a:rPr lang="en-US" dirty="0">
                <a:sym typeface="Wingdings" pitchFamily="2" charset="2"/>
              </a:rPr>
              <a:t>, </a:t>
            </a:r>
            <a:r>
              <a:rPr lang="en-US" dirty="0" err="1">
                <a:latin typeface="Symbol" pitchFamily="2" charset="2"/>
                <a:sym typeface="Wingdings" pitchFamily="2" charset="2"/>
              </a:rPr>
              <a:t>t</a:t>
            </a:r>
            <a:r>
              <a:rPr lang="en-US" baseline="30000" dirty="0" err="1">
                <a:sym typeface="Wingdings" pitchFamily="2" charset="2"/>
              </a:rPr>
              <a:t>+</a:t>
            </a:r>
            <a:r>
              <a:rPr lang="en-US" dirty="0" err="1">
                <a:latin typeface="Symbol" pitchFamily="2" charset="2"/>
                <a:sym typeface="Wingdings" pitchFamily="2" charset="2"/>
              </a:rPr>
              <a:t>t</a:t>
            </a:r>
            <a:r>
              <a:rPr lang="en-US" baseline="30000" dirty="0">
                <a:sym typeface="Wingdings" pitchFamily="2" charset="2"/>
              </a:rPr>
              <a:t>-</a:t>
            </a:r>
            <a:r>
              <a:rPr lang="en-US" dirty="0">
                <a:sym typeface="Wingdings" pitchFamily="2" charset="2"/>
              </a:rPr>
              <a:t>?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HNL, Low mass dark matter, </a:t>
            </a:r>
            <a:r>
              <a:rPr lang="en-US" dirty="0" err="1">
                <a:sym typeface="Wingdings" pitchFamily="2" charset="2"/>
              </a:rPr>
              <a:t>etc</a:t>
            </a:r>
            <a:endParaRPr lang="en-US" dirty="0"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Based on the signal and neutron background mitigation studies, using GEANT4  Detector requirement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Fine granularity for a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superb shower position and angular resolutions </a:t>
            </a:r>
            <a:r>
              <a:rPr lang="en-US" dirty="0">
                <a:sym typeface="Wingdings" pitchFamily="2" charset="2"/>
              </a:rPr>
              <a:t>for 2 EM particle vertex pointing &amp; DCA precision better than 1cm in the vacuum decay volume</a:t>
            </a:r>
          </a:p>
          <a:p>
            <a:pPr lvl="1">
              <a:lnSpc>
                <a:spcPct val="90000"/>
              </a:lnSpc>
            </a:pP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Fast timing </a:t>
            </a:r>
            <a:r>
              <a:rPr lang="en-US" dirty="0">
                <a:sym typeface="Wingdings" pitchFamily="2" charset="2"/>
              </a:rPr>
              <a:t>capability at sub-ns level (~100ps) for two EM particle arrival time difference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Capability of measuring up to 500 MeV photons with as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fine a mass resolution</a:t>
            </a:r>
            <a:r>
              <a:rPr lang="en-US" dirty="0">
                <a:sym typeface="Wingdings" pitchFamily="2" charset="2"/>
              </a:rPr>
              <a:t> as accomplishable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Capability to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distinguish charged particles </a:t>
            </a:r>
            <a:r>
              <a:rPr lang="en-US" dirty="0">
                <a:sym typeface="Wingdings" pitchFamily="2" charset="2"/>
              </a:rPr>
              <a:t>from neutral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9DA6D7-E50F-85AA-EFC8-653099A55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10/26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BBFAC3-3DF4-9394-3753-42304B883F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1D157-9F5F-630E-0BA2-EDC0BFBD0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218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25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hys1443-spring02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006600"/>
      </a:hlink>
      <a:folHlink>
        <a:srgbClr val="B2B2B2"/>
      </a:folHlink>
    </a:clrScheme>
    <a:fontScheme name="phys1443-spring02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lnDef>
  </a:objectDefaults>
  <a:extraClrSchemeLst>
    <a:extraClrScheme>
      <a:clrScheme name="phys1443-spring02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hys1443-spring02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:\UTA\Classes\1443 Spring 2002\phys1443-spring02.pot</Template>
  <TotalTime>176885</TotalTime>
  <Words>2969</Words>
  <Application>Microsoft Macintosh PowerPoint</Application>
  <PresentationFormat>On-screen Show (4:3)</PresentationFormat>
  <Paragraphs>542</Paragraphs>
  <Slides>37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9" baseType="lpstr">
      <vt:lpstr>ＭＳ Ｐゴシック</vt:lpstr>
      <vt:lpstr>Arial</vt:lpstr>
      <vt:lpstr>Arial Narrow</vt:lpstr>
      <vt:lpstr>Calibri</vt:lpstr>
      <vt:lpstr>Cambria</vt:lpstr>
      <vt:lpstr>Monotype Corsiva</vt:lpstr>
      <vt:lpstr>Open Sans</vt:lpstr>
      <vt:lpstr>Symbol</vt:lpstr>
      <vt:lpstr>Times New Roman</vt:lpstr>
      <vt:lpstr>Wingdings</vt:lpstr>
      <vt:lpstr>phys1443-spring02</vt:lpstr>
      <vt:lpstr>think-cell 슬라이드</vt:lpstr>
      <vt:lpstr>PowerPoint Presentation</vt:lpstr>
      <vt:lpstr>Physics Motivation For DSP</vt:lpstr>
      <vt:lpstr>What is DAMSA?</vt:lpstr>
      <vt:lpstr> Unique Opportunity on Dark Sector</vt:lpstr>
      <vt:lpstr>DAMSA Physics Strategy</vt:lpstr>
      <vt:lpstr>DAMSA Exp. Strategy </vt:lpstr>
      <vt:lpstr>The three key elements</vt:lpstr>
      <vt:lpstr>Detector Design Concept</vt:lpstr>
      <vt:lpstr>Physics Driven DAMSA Detector</vt:lpstr>
      <vt:lpstr>More Realistic DAMSA &amp; the ceiling</vt:lpstr>
      <vt:lpstr>Impact of Exp. Param. to the Ceiling</vt:lpstr>
      <vt:lpstr>DAMSA Pathfinder Strategy</vt:lpstr>
      <vt:lpstr>Beam Related Background Mitigation</vt:lpstr>
      <vt:lpstr>Critical Info on Little DAMSA –n bck</vt:lpstr>
      <vt:lpstr>Beam Related Background Mitigation</vt:lpstr>
      <vt:lpstr>DAMSA Detector – The g pair traceback</vt:lpstr>
      <vt:lpstr>DAMSA Detector Study Eg Cut</vt:lpstr>
      <vt:lpstr>Neutron Background Reduction Summary </vt:lpstr>
      <vt:lpstr>DAMSA Detector Requirements</vt:lpstr>
      <vt:lpstr>The DAMSA Pathfinder Experiment</vt:lpstr>
      <vt:lpstr>DAMSA in ESA?</vt:lpstr>
      <vt:lpstr>DAMSA – The Tracker </vt:lpstr>
      <vt:lpstr>DAMSA – The ECAL</vt:lpstr>
      <vt:lpstr>Progress On ECAL Crystal Bars</vt:lpstr>
      <vt:lpstr>DAMSA – A Phased Approach</vt:lpstr>
      <vt:lpstr>DAMSA Path-Finder Expectation</vt:lpstr>
      <vt:lpstr>Phase 1 Detector &amp; ECAL Geom.</vt:lpstr>
      <vt:lpstr>DAMSA Sensitivity @SLAC 8GeV e </vt:lpstr>
      <vt:lpstr>DAMSA – Phased Approach</vt:lpstr>
      <vt:lpstr>DAMSA@CERN BDF (2504.02923)</vt:lpstr>
      <vt:lpstr>Timelines for Some Beam Facilities</vt:lpstr>
      <vt:lpstr>PowerPoint Presentation</vt:lpstr>
      <vt:lpstr>Where is the DAMSA experiment?</vt:lpstr>
      <vt:lpstr>Conclusions</vt:lpstr>
      <vt:lpstr>Extras</vt:lpstr>
      <vt:lpstr>Estimated Exp. Costs &amp; Responsible</vt:lpstr>
      <vt:lpstr>Yearly cost w/ human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YS 1443 – Section 501 Lecture #1</dc:title>
  <dc:creator>Jae Yu</dc:creator>
  <cp:lastModifiedBy>Yu, Jaehoon</cp:lastModifiedBy>
  <cp:revision>3162</cp:revision>
  <cp:lastPrinted>2024-08-07T17:22:55Z</cp:lastPrinted>
  <dcterms:created xsi:type="dcterms:W3CDTF">2012-01-19T04:21:20Z</dcterms:created>
  <dcterms:modified xsi:type="dcterms:W3CDTF">2026-03-10T19:15:22Z</dcterms:modified>
</cp:coreProperties>
</file>